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9.xml" ContentType="application/vnd.openxmlformats-officedocument.presentationml.tags+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2"/>
    <p:sldMasterId id="2147484229" r:id="rId13"/>
    <p:sldMasterId id="2147484270" r:id="rId14"/>
    <p:sldMasterId id="2147484321" r:id="rId15"/>
    <p:sldMasterId id="2147484368" r:id="rId16"/>
  </p:sldMasterIdLst>
  <p:notesMasterIdLst>
    <p:notesMasterId r:id="rId40"/>
  </p:notesMasterIdLst>
  <p:handoutMasterIdLst>
    <p:handoutMasterId r:id="rId41"/>
  </p:handoutMasterIdLst>
  <p:sldIdLst>
    <p:sldId id="329" r:id="rId17"/>
    <p:sldId id="317" r:id="rId18"/>
    <p:sldId id="318" r:id="rId19"/>
    <p:sldId id="330" r:id="rId20"/>
    <p:sldId id="342" r:id="rId21"/>
    <p:sldId id="336" r:id="rId22"/>
    <p:sldId id="337" r:id="rId23"/>
    <p:sldId id="338" r:id="rId24"/>
    <p:sldId id="339" r:id="rId25"/>
    <p:sldId id="340" r:id="rId26"/>
    <p:sldId id="341" r:id="rId27"/>
    <p:sldId id="343" r:id="rId28"/>
    <p:sldId id="352" r:id="rId29"/>
    <p:sldId id="344" r:id="rId30"/>
    <p:sldId id="346" r:id="rId31"/>
    <p:sldId id="347" r:id="rId32"/>
    <p:sldId id="345" r:id="rId33"/>
    <p:sldId id="349" r:id="rId34"/>
    <p:sldId id="350" r:id="rId35"/>
    <p:sldId id="351" r:id="rId36"/>
    <p:sldId id="348" r:id="rId37"/>
    <p:sldId id="335" r:id="rId38"/>
    <p:sldId id="323" r:id="rId3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DE1FFD5-51E7-46B9-A088-E16EC44D3189}">
          <p14:sldIdLst>
            <p14:sldId id="329"/>
            <p14:sldId id="317"/>
          </p14:sldIdLst>
        </p14:section>
        <p14:section name="Lesson 1" id="{AEEB9206-BF9A-4149-867D-9C483B90393C}">
          <p14:sldIdLst>
            <p14:sldId id="318"/>
            <p14:sldId id="330"/>
            <p14:sldId id="342"/>
            <p14:sldId id="336"/>
            <p14:sldId id="337"/>
            <p14:sldId id="338"/>
            <p14:sldId id="339"/>
          </p14:sldIdLst>
        </p14:section>
        <p14:section name="Lesson 2" id="{308B2710-D3AF-4C4B-BD2E-376131B90737}">
          <p14:sldIdLst>
            <p14:sldId id="340"/>
            <p14:sldId id="341"/>
            <p14:sldId id="343"/>
            <p14:sldId id="352"/>
            <p14:sldId id="344"/>
            <p14:sldId id="346"/>
            <p14:sldId id="347"/>
            <p14:sldId id="345"/>
            <p14:sldId id="349"/>
            <p14:sldId id="350"/>
            <p14:sldId id="351"/>
            <p14:sldId id="348"/>
          </p14:sldIdLst>
        </p14:section>
        <p14:section name="Knowledge Check" id="{DABB6058-A673-40C6-A856-85992C8EA45B}">
          <p14:sldIdLst>
            <p14:sldId id="335"/>
            <p14:sldId id="32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8DE434D-1F2A-D37E-60AE-F079A9D58EC6}" name="Filipe Moreira" initials="FM" userId="S::fimorei@microsoft.com::fa9bf1d2-47eb-439d-b2f4-ca03a48a6bbf" providerId="AD"/>
  <p188:author id="{B3A03A83-8476-0708-893D-02B86E8EADE6}" name="Nick Salch" initials="NS" userId="S::nicksalc@microsoft.com::47ab95ae-ac26-4648-966b-37822820099a" providerId="AD"/>
  <p188:author id="{3EAA0BB8-ADED-0607-8649-BECD004EB963}" name="Felipe De Assis" initials="FDA" userId="S::fassis@microsoft.com::fedc4fe9-b909-48c3-b8ca-78d40727f11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525252"/>
    <a:srgbClr val="0078D7"/>
    <a:srgbClr val="00188F"/>
    <a:srgbClr val="107C10"/>
    <a:srgbClr val="008272"/>
    <a:srgbClr val="B4009E"/>
    <a:srgbClr val="00BCF2"/>
    <a:srgbClr val="737373"/>
    <a:srgbClr val="E3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9D3F74-70CB-4A49-970D-11D917486CCC}" v="628" dt="2020-10-21T05:18:23.6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0024" autoAdjust="0"/>
  </p:normalViewPr>
  <p:slideViewPr>
    <p:cSldViewPr snapToGrid="0">
      <p:cViewPr varScale="1">
        <p:scale>
          <a:sx n="89" d="100"/>
          <a:sy n="89" d="100"/>
        </p:scale>
        <p:origin x="1262" y="77"/>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2.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commentAuthors" Target="commentAuthors.xml"/><Relationship Id="rId47" Type="http://schemas.microsoft.com/office/2016/11/relationships/changesInfo" Target="changesInfos/changesInfo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5.xml"/><Relationship Id="rId29" Type="http://schemas.openxmlformats.org/officeDocument/2006/relationships/slide" Target="slides/slide13.xml"/><Relationship Id="rId11" Type="http://schemas.openxmlformats.org/officeDocument/2006/relationships/customXml" Target="../customXml/item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Master" Target="slideMasters/slideMaster4.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microsoft.com/office/2018/10/relationships/authors" Target="authors.xml"/><Relationship Id="rId10" Type="http://schemas.openxmlformats.org/officeDocument/2006/relationships/customXml" Target="../customXml/item10.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3.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slideMaster" Target="slideMasters/slideMaster1.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tableStyles" Target="tableStyles.xml"/><Relationship Id="rId20" Type="http://schemas.openxmlformats.org/officeDocument/2006/relationships/slide" Target="slides/slide4.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k Salch" userId="47ab95ae-ac26-4648-966b-37822820099a" providerId="ADAL" clId="{BE9D3F74-70CB-4A49-970D-11D917486CCC}"/>
    <pc:docChg chg="undo redo custSel addSld delSld modSld sldOrd delSection modSection">
      <pc:chgData name="Nick Salch" userId="47ab95ae-ac26-4648-966b-37822820099a" providerId="ADAL" clId="{BE9D3F74-70CB-4A49-970D-11D917486CCC}" dt="2020-10-21T05:19:19.698" v="14198" actId="20577"/>
      <pc:docMkLst>
        <pc:docMk/>
      </pc:docMkLst>
      <pc:sldChg chg="del">
        <pc:chgData name="Nick Salch" userId="47ab95ae-ac26-4648-966b-37822820099a" providerId="ADAL" clId="{BE9D3F74-70CB-4A49-970D-11D917486CCC}" dt="2020-10-20T18:31:43.781" v="333" actId="2696"/>
        <pc:sldMkLst>
          <pc:docMk/>
          <pc:sldMk cId="1231228165" sldId="277"/>
        </pc:sldMkLst>
      </pc:sldChg>
      <pc:sldChg chg="del">
        <pc:chgData name="Nick Salch" userId="47ab95ae-ac26-4648-966b-37822820099a" providerId="ADAL" clId="{BE9D3F74-70CB-4A49-970D-11D917486CCC}" dt="2020-10-20T18:31:43.781" v="333" actId="2696"/>
        <pc:sldMkLst>
          <pc:docMk/>
          <pc:sldMk cId="4070320751" sldId="279"/>
        </pc:sldMkLst>
      </pc:sldChg>
      <pc:sldChg chg="del">
        <pc:chgData name="Nick Salch" userId="47ab95ae-ac26-4648-966b-37822820099a" providerId="ADAL" clId="{BE9D3F74-70CB-4A49-970D-11D917486CCC}" dt="2020-10-20T18:31:43.781" v="333" actId="2696"/>
        <pc:sldMkLst>
          <pc:docMk/>
          <pc:sldMk cId="3686692616" sldId="280"/>
        </pc:sldMkLst>
      </pc:sldChg>
      <pc:sldChg chg="del">
        <pc:chgData name="Nick Salch" userId="47ab95ae-ac26-4648-966b-37822820099a" providerId="ADAL" clId="{BE9D3F74-70CB-4A49-970D-11D917486CCC}" dt="2020-10-20T18:31:43.781" v="333" actId="2696"/>
        <pc:sldMkLst>
          <pc:docMk/>
          <pc:sldMk cId="2189783365" sldId="282"/>
        </pc:sldMkLst>
      </pc:sldChg>
      <pc:sldChg chg="del">
        <pc:chgData name="Nick Salch" userId="47ab95ae-ac26-4648-966b-37822820099a" providerId="ADAL" clId="{BE9D3F74-70CB-4A49-970D-11D917486CCC}" dt="2020-10-20T18:31:43.781" v="333" actId="2696"/>
        <pc:sldMkLst>
          <pc:docMk/>
          <pc:sldMk cId="617746162" sldId="283"/>
        </pc:sldMkLst>
      </pc:sldChg>
      <pc:sldChg chg="del">
        <pc:chgData name="Nick Salch" userId="47ab95ae-ac26-4648-966b-37822820099a" providerId="ADAL" clId="{BE9D3F74-70CB-4A49-970D-11D917486CCC}" dt="2020-10-20T18:31:43.781" v="333" actId="2696"/>
        <pc:sldMkLst>
          <pc:docMk/>
          <pc:sldMk cId="391200088" sldId="284"/>
        </pc:sldMkLst>
      </pc:sldChg>
      <pc:sldChg chg="del">
        <pc:chgData name="Nick Salch" userId="47ab95ae-ac26-4648-966b-37822820099a" providerId="ADAL" clId="{BE9D3F74-70CB-4A49-970D-11D917486CCC}" dt="2020-10-20T18:31:43.781" v="333" actId="2696"/>
        <pc:sldMkLst>
          <pc:docMk/>
          <pc:sldMk cId="3076810162" sldId="285"/>
        </pc:sldMkLst>
      </pc:sldChg>
      <pc:sldChg chg="del">
        <pc:chgData name="Nick Salch" userId="47ab95ae-ac26-4648-966b-37822820099a" providerId="ADAL" clId="{BE9D3F74-70CB-4A49-970D-11D917486CCC}" dt="2020-10-20T18:31:43.781" v="333" actId="2696"/>
        <pc:sldMkLst>
          <pc:docMk/>
          <pc:sldMk cId="877002824" sldId="286"/>
        </pc:sldMkLst>
      </pc:sldChg>
      <pc:sldChg chg="del">
        <pc:chgData name="Nick Salch" userId="47ab95ae-ac26-4648-966b-37822820099a" providerId="ADAL" clId="{BE9D3F74-70CB-4A49-970D-11D917486CCC}" dt="2020-10-20T18:31:43.781" v="333" actId="2696"/>
        <pc:sldMkLst>
          <pc:docMk/>
          <pc:sldMk cId="4006707211" sldId="289"/>
        </pc:sldMkLst>
      </pc:sldChg>
      <pc:sldChg chg="del">
        <pc:chgData name="Nick Salch" userId="47ab95ae-ac26-4648-966b-37822820099a" providerId="ADAL" clId="{BE9D3F74-70CB-4A49-970D-11D917486CCC}" dt="2020-10-20T18:31:43.781" v="333" actId="2696"/>
        <pc:sldMkLst>
          <pc:docMk/>
          <pc:sldMk cId="154391681" sldId="290"/>
        </pc:sldMkLst>
      </pc:sldChg>
      <pc:sldChg chg="del">
        <pc:chgData name="Nick Salch" userId="47ab95ae-ac26-4648-966b-37822820099a" providerId="ADAL" clId="{BE9D3F74-70CB-4A49-970D-11D917486CCC}" dt="2020-10-20T18:31:43.781" v="333" actId="2696"/>
        <pc:sldMkLst>
          <pc:docMk/>
          <pc:sldMk cId="4219686795" sldId="291"/>
        </pc:sldMkLst>
      </pc:sldChg>
      <pc:sldChg chg="del">
        <pc:chgData name="Nick Salch" userId="47ab95ae-ac26-4648-966b-37822820099a" providerId="ADAL" clId="{BE9D3F74-70CB-4A49-970D-11D917486CCC}" dt="2020-10-20T18:31:43.781" v="333" actId="2696"/>
        <pc:sldMkLst>
          <pc:docMk/>
          <pc:sldMk cId="2041083804" sldId="292"/>
        </pc:sldMkLst>
      </pc:sldChg>
      <pc:sldChg chg="del">
        <pc:chgData name="Nick Salch" userId="47ab95ae-ac26-4648-966b-37822820099a" providerId="ADAL" clId="{BE9D3F74-70CB-4A49-970D-11D917486CCC}" dt="2020-10-20T18:31:43.781" v="333" actId="2696"/>
        <pc:sldMkLst>
          <pc:docMk/>
          <pc:sldMk cId="3219276577" sldId="300"/>
        </pc:sldMkLst>
      </pc:sldChg>
      <pc:sldChg chg="del">
        <pc:chgData name="Nick Salch" userId="47ab95ae-ac26-4648-966b-37822820099a" providerId="ADAL" clId="{BE9D3F74-70CB-4A49-970D-11D917486CCC}" dt="2020-10-20T18:31:43.781" v="333" actId="2696"/>
        <pc:sldMkLst>
          <pc:docMk/>
          <pc:sldMk cId="506177482" sldId="301"/>
        </pc:sldMkLst>
      </pc:sldChg>
      <pc:sldChg chg="del">
        <pc:chgData name="Nick Salch" userId="47ab95ae-ac26-4648-966b-37822820099a" providerId="ADAL" clId="{BE9D3F74-70CB-4A49-970D-11D917486CCC}" dt="2020-10-20T18:31:43.781" v="333" actId="2696"/>
        <pc:sldMkLst>
          <pc:docMk/>
          <pc:sldMk cId="4020798319" sldId="302"/>
        </pc:sldMkLst>
      </pc:sldChg>
      <pc:sldChg chg="del">
        <pc:chgData name="Nick Salch" userId="47ab95ae-ac26-4648-966b-37822820099a" providerId="ADAL" clId="{BE9D3F74-70CB-4A49-970D-11D917486CCC}" dt="2020-10-20T18:31:43.781" v="333" actId="2696"/>
        <pc:sldMkLst>
          <pc:docMk/>
          <pc:sldMk cId="357505054" sldId="303"/>
        </pc:sldMkLst>
      </pc:sldChg>
      <pc:sldChg chg="del">
        <pc:chgData name="Nick Salch" userId="47ab95ae-ac26-4648-966b-37822820099a" providerId="ADAL" clId="{BE9D3F74-70CB-4A49-970D-11D917486CCC}" dt="2020-10-20T18:31:43.781" v="333" actId="2696"/>
        <pc:sldMkLst>
          <pc:docMk/>
          <pc:sldMk cId="2835036643" sldId="304"/>
        </pc:sldMkLst>
      </pc:sldChg>
      <pc:sldChg chg="del">
        <pc:chgData name="Nick Salch" userId="47ab95ae-ac26-4648-966b-37822820099a" providerId="ADAL" clId="{BE9D3F74-70CB-4A49-970D-11D917486CCC}" dt="2020-10-20T18:31:43.781" v="333" actId="2696"/>
        <pc:sldMkLst>
          <pc:docMk/>
          <pc:sldMk cId="2273931650" sldId="305"/>
        </pc:sldMkLst>
      </pc:sldChg>
      <pc:sldChg chg="del">
        <pc:chgData name="Nick Salch" userId="47ab95ae-ac26-4648-966b-37822820099a" providerId="ADAL" clId="{BE9D3F74-70CB-4A49-970D-11D917486CCC}" dt="2020-10-20T18:31:43.781" v="333" actId="2696"/>
        <pc:sldMkLst>
          <pc:docMk/>
          <pc:sldMk cId="2572464404" sldId="306"/>
        </pc:sldMkLst>
      </pc:sldChg>
      <pc:sldChg chg="del">
        <pc:chgData name="Nick Salch" userId="47ab95ae-ac26-4648-966b-37822820099a" providerId="ADAL" clId="{BE9D3F74-70CB-4A49-970D-11D917486CCC}" dt="2020-10-20T18:31:43.781" v="333" actId="2696"/>
        <pc:sldMkLst>
          <pc:docMk/>
          <pc:sldMk cId="669815032" sldId="307"/>
        </pc:sldMkLst>
      </pc:sldChg>
      <pc:sldChg chg="del">
        <pc:chgData name="Nick Salch" userId="47ab95ae-ac26-4648-966b-37822820099a" providerId="ADAL" clId="{BE9D3F74-70CB-4A49-970D-11D917486CCC}" dt="2020-10-20T18:31:43.781" v="333" actId="2696"/>
        <pc:sldMkLst>
          <pc:docMk/>
          <pc:sldMk cId="517656174" sldId="308"/>
        </pc:sldMkLst>
      </pc:sldChg>
      <pc:sldChg chg="del">
        <pc:chgData name="Nick Salch" userId="47ab95ae-ac26-4648-966b-37822820099a" providerId="ADAL" clId="{BE9D3F74-70CB-4A49-970D-11D917486CCC}" dt="2020-10-20T18:31:43.781" v="333" actId="2696"/>
        <pc:sldMkLst>
          <pc:docMk/>
          <pc:sldMk cId="793582559" sldId="309"/>
        </pc:sldMkLst>
      </pc:sldChg>
      <pc:sldChg chg="del">
        <pc:chgData name="Nick Salch" userId="47ab95ae-ac26-4648-966b-37822820099a" providerId="ADAL" clId="{BE9D3F74-70CB-4A49-970D-11D917486CCC}" dt="2020-10-20T18:31:43.781" v="333" actId="2696"/>
        <pc:sldMkLst>
          <pc:docMk/>
          <pc:sldMk cId="2570979657" sldId="310"/>
        </pc:sldMkLst>
      </pc:sldChg>
      <pc:sldChg chg="del">
        <pc:chgData name="Nick Salch" userId="47ab95ae-ac26-4648-966b-37822820099a" providerId="ADAL" clId="{BE9D3F74-70CB-4A49-970D-11D917486CCC}" dt="2020-10-20T18:31:43.781" v="333" actId="2696"/>
        <pc:sldMkLst>
          <pc:docMk/>
          <pc:sldMk cId="2355980626" sldId="311"/>
        </pc:sldMkLst>
      </pc:sldChg>
      <pc:sldChg chg="del">
        <pc:chgData name="Nick Salch" userId="47ab95ae-ac26-4648-966b-37822820099a" providerId="ADAL" clId="{BE9D3F74-70CB-4A49-970D-11D917486CCC}" dt="2020-10-20T18:31:43.781" v="333" actId="2696"/>
        <pc:sldMkLst>
          <pc:docMk/>
          <pc:sldMk cId="1654109084" sldId="312"/>
        </pc:sldMkLst>
      </pc:sldChg>
      <pc:sldChg chg="del">
        <pc:chgData name="Nick Salch" userId="47ab95ae-ac26-4648-966b-37822820099a" providerId="ADAL" clId="{BE9D3F74-70CB-4A49-970D-11D917486CCC}" dt="2020-10-20T18:31:43.781" v="333" actId="2696"/>
        <pc:sldMkLst>
          <pc:docMk/>
          <pc:sldMk cId="4184016912" sldId="313"/>
        </pc:sldMkLst>
      </pc:sldChg>
      <pc:sldChg chg="del">
        <pc:chgData name="Nick Salch" userId="47ab95ae-ac26-4648-966b-37822820099a" providerId="ADAL" clId="{BE9D3F74-70CB-4A49-970D-11D917486CCC}" dt="2020-10-20T18:31:43.781" v="333" actId="2696"/>
        <pc:sldMkLst>
          <pc:docMk/>
          <pc:sldMk cId="2503025995" sldId="314"/>
        </pc:sldMkLst>
      </pc:sldChg>
      <pc:sldChg chg="del">
        <pc:chgData name="Nick Salch" userId="47ab95ae-ac26-4648-966b-37822820099a" providerId="ADAL" clId="{BE9D3F74-70CB-4A49-970D-11D917486CCC}" dt="2020-10-20T18:31:43.781" v="333" actId="2696"/>
        <pc:sldMkLst>
          <pc:docMk/>
          <pc:sldMk cId="1520348436" sldId="315"/>
        </pc:sldMkLst>
      </pc:sldChg>
      <pc:sldChg chg="modSp mod">
        <pc:chgData name="Nick Salch" userId="47ab95ae-ac26-4648-966b-37822820099a" providerId="ADAL" clId="{BE9D3F74-70CB-4A49-970D-11D917486CCC}" dt="2020-10-21T05:16:16.286" v="14049"/>
        <pc:sldMkLst>
          <pc:docMk/>
          <pc:sldMk cId="1615560134" sldId="317"/>
        </pc:sldMkLst>
        <pc:spChg chg="mod">
          <ac:chgData name="Nick Salch" userId="47ab95ae-ac26-4648-966b-37822820099a" providerId="ADAL" clId="{BE9D3F74-70CB-4A49-970D-11D917486CCC}" dt="2020-10-21T05:16:16.286" v="14049"/>
          <ac:spMkLst>
            <pc:docMk/>
            <pc:sldMk cId="1615560134" sldId="317"/>
            <ac:spMk id="3" creationId="{859B2BAE-A383-4E74-B3CF-9AC64DA11727}"/>
          </ac:spMkLst>
        </pc:spChg>
      </pc:sldChg>
      <pc:sldChg chg="modSp mod modNotesTx">
        <pc:chgData name="Nick Salch" userId="47ab95ae-ac26-4648-966b-37822820099a" providerId="ADAL" clId="{BE9D3F74-70CB-4A49-970D-11D917486CCC}" dt="2020-10-21T01:36:30.622" v="5428" actId="20577"/>
        <pc:sldMkLst>
          <pc:docMk/>
          <pc:sldMk cId="4083746080" sldId="318"/>
        </pc:sldMkLst>
        <pc:spChg chg="mod">
          <ac:chgData name="Nick Salch" userId="47ab95ae-ac26-4648-966b-37822820099a" providerId="ADAL" clId="{BE9D3F74-70CB-4A49-970D-11D917486CCC}" dt="2020-10-21T01:36:30.622" v="5428" actId="20577"/>
          <ac:spMkLst>
            <pc:docMk/>
            <pc:sldMk cId="4083746080" sldId="318"/>
            <ac:spMk id="2" creationId="{74CD77A6-E28D-4D8D-9FE5-64ADAA827AC9}"/>
          </ac:spMkLst>
        </pc:spChg>
      </pc:sldChg>
      <pc:sldChg chg="del">
        <pc:chgData name="Nick Salch" userId="47ab95ae-ac26-4648-966b-37822820099a" providerId="ADAL" clId="{BE9D3F74-70CB-4A49-970D-11D917486CCC}" dt="2020-10-20T18:31:43.781" v="333" actId="2696"/>
        <pc:sldMkLst>
          <pc:docMk/>
          <pc:sldMk cId="185089779" sldId="319"/>
        </pc:sldMkLst>
      </pc:sldChg>
      <pc:sldChg chg="del">
        <pc:chgData name="Nick Salch" userId="47ab95ae-ac26-4648-966b-37822820099a" providerId="ADAL" clId="{BE9D3F74-70CB-4A49-970D-11D917486CCC}" dt="2020-10-20T18:31:43.781" v="333" actId="2696"/>
        <pc:sldMkLst>
          <pc:docMk/>
          <pc:sldMk cId="3293856104" sldId="320"/>
        </pc:sldMkLst>
      </pc:sldChg>
      <pc:sldChg chg="del">
        <pc:chgData name="Nick Salch" userId="47ab95ae-ac26-4648-966b-37822820099a" providerId="ADAL" clId="{BE9D3F74-70CB-4A49-970D-11D917486CCC}" dt="2020-10-20T18:31:43.781" v="333" actId="2696"/>
        <pc:sldMkLst>
          <pc:docMk/>
          <pc:sldMk cId="2077514343" sldId="321"/>
        </pc:sldMkLst>
      </pc:sldChg>
      <pc:sldChg chg="del">
        <pc:chgData name="Nick Salch" userId="47ab95ae-ac26-4648-966b-37822820099a" providerId="ADAL" clId="{BE9D3F74-70CB-4A49-970D-11D917486CCC}" dt="2020-10-20T18:31:43.781" v="333" actId="2696"/>
        <pc:sldMkLst>
          <pc:docMk/>
          <pc:sldMk cId="336616292" sldId="322"/>
        </pc:sldMkLst>
      </pc:sldChg>
      <pc:sldChg chg="del">
        <pc:chgData name="Nick Salch" userId="47ab95ae-ac26-4648-966b-37822820099a" providerId="ADAL" clId="{BE9D3F74-70CB-4A49-970D-11D917486CCC}" dt="2020-10-20T18:31:43.781" v="333" actId="2696"/>
        <pc:sldMkLst>
          <pc:docMk/>
          <pc:sldMk cId="555180019" sldId="326"/>
        </pc:sldMkLst>
      </pc:sldChg>
      <pc:sldChg chg="del">
        <pc:chgData name="Nick Salch" userId="47ab95ae-ac26-4648-966b-37822820099a" providerId="ADAL" clId="{BE9D3F74-70CB-4A49-970D-11D917486CCC}" dt="2020-10-20T18:31:43.781" v="333" actId="2696"/>
        <pc:sldMkLst>
          <pc:docMk/>
          <pc:sldMk cId="3816453234" sldId="327"/>
        </pc:sldMkLst>
      </pc:sldChg>
      <pc:sldChg chg="modSp mod">
        <pc:chgData name="Nick Salch" userId="47ab95ae-ac26-4648-966b-37822820099a" providerId="ADAL" clId="{BE9D3F74-70CB-4A49-970D-11D917486CCC}" dt="2020-10-20T18:29:28.188" v="20" actId="20577"/>
        <pc:sldMkLst>
          <pc:docMk/>
          <pc:sldMk cId="1196121053" sldId="329"/>
        </pc:sldMkLst>
        <pc:spChg chg="mod">
          <ac:chgData name="Nick Salch" userId="47ab95ae-ac26-4648-966b-37822820099a" providerId="ADAL" clId="{BE9D3F74-70CB-4A49-970D-11D917486CCC}" dt="2020-10-20T18:29:25.668" v="17" actId="20577"/>
          <ac:spMkLst>
            <pc:docMk/>
            <pc:sldMk cId="1196121053" sldId="329"/>
            <ac:spMk id="4" creationId="{5D85DF47-300F-4085-B774-DDE734B96F99}"/>
          </ac:spMkLst>
        </pc:spChg>
        <pc:spChg chg="mod">
          <ac:chgData name="Nick Salch" userId="47ab95ae-ac26-4648-966b-37822820099a" providerId="ADAL" clId="{BE9D3F74-70CB-4A49-970D-11D917486CCC}" dt="2020-10-20T18:29:28.188" v="20" actId="20577"/>
          <ac:spMkLst>
            <pc:docMk/>
            <pc:sldMk cId="1196121053" sldId="329"/>
            <ac:spMk id="5" creationId="{806AE5AE-CAF0-4BF4-872E-C97AF8874A6F}"/>
          </ac:spMkLst>
        </pc:spChg>
      </pc:sldChg>
      <pc:sldChg chg="modSp mod ord">
        <pc:chgData name="Nick Salch" userId="47ab95ae-ac26-4648-966b-37822820099a" providerId="ADAL" clId="{BE9D3F74-70CB-4A49-970D-11D917486CCC}" dt="2020-10-21T01:49:51.412" v="6967" actId="20577"/>
        <pc:sldMkLst>
          <pc:docMk/>
          <pc:sldMk cId="3423004034" sldId="330"/>
        </pc:sldMkLst>
        <pc:spChg chg="mod">
          <ac:chgData name="Nick Salch" userId="47ab95ae-ac26-4648-966b-37822820099a" providerId="ADAL" clId="{BE9D3F74-70CB-4A49-970D-11D917486CCC}" dt="2020-10-21T01:49:51.412" v="6967" actId="20577"/>
          <ac:spMkLst>
            <pc:docMk/>
            <pc:sldMk cId="3423004034" sldId="330"/>
            <ac:spMk id="5" creationId="{55182462-DFDF-4D48-A92C-42FD52821C4E}"/>
          </ac:spMkLst>
        </pc:spChg>
      </pc:sldChg>
      <pc:sldChg chg="del">
        <pc:chgData name="Nick Salch" userId="47ab95ae-ac26-4648-966b-37822820099a" providerId="ADAL" clId="{BE9D3F74-70CB-4A49-970D-11D917486CCC}" dt="2020-10-20T18:31:43.781" v="333" actId="2696"/>
        <pc:sldMkLst>
          <pc:docMk/>
          <pc:sldMk cId="2076743364" sldId="331"/>
        </pc:sldMkLst>
      </pc:sldChg>
      <pc:sldChg chg="del">
        <pc:chgData name="Nick Salch" userId="47ab95ae-ac26-4648-966b-37822820099a" providerId="ADAL" clId="{BE9D3F74-70CB-4A49-970D-11D917486CCC}" dt="2020-10-20T18:31:43.781" v="333" actId="2696"/>
        <pc:sldMkLst>
          <pc:docMk/>
          <pc:sldMk cId="2306112558" sldId="332"/>
        </pc:sldMkLst>
      </pc:sldChg>
      <pc:sldChg chg="del">
        <pc:chgData name="Nick Salch" userId="47ab95ae-ac26-4648-966b-37822820099a" providerId="ADAL" clId="{BE9D3F74-70CB-4A49-970D-11D917486CCC}" dt="2020-10-20T18:31:43.781" v="333" actId="2696"/>
        <pc:sldMkLst>
          <pc:docMk/>
          <pc:sldMk cId="3135831207" sldId="333"/>
        </pc:sldMkLst>
      </pc:sldChg>
      <pc:sldChg chg="del">
        <pc:chgData name="Nick Salch" userId="47ab95ae-ac26-4648-966b-37822820099a" providerId="ADAL" clId="{BE9D3F74-70CB-4A49-970D-11D917486CCC}" dt="2020-10-20T18:31:43.781" v="333" actId="2696"/>
        <pc:sldMkLst>
          <pc:docMk/>
          <pc:sldMk cId="3152715325" sldId="334"/>
        </pc:sldMkLst>
      </pc:sldChg>
      <pc:sldChg chg="modSp mod">
        <pc:chgData name="Nick Salch" userId="47ab95ae-ac26-4648-966b-37822820099a" providerId="ADAL" clId="{BE9D3F74-70CB-4A49-970D-11D917486CCC}" dt="2020-10-21T05:17:29.653" v="14156" actId="20577"/>
        <pc:sldMkLst>
          <pc:docMk/>
          <pc:sldMk cId="2038431587" sldId="335"/>
        </pc:sldMkLst>
        <pc:spChg chg="mod">
          <ac:chgData name="Nick Salch" userId="47ab95ae-ac26-4648-966b-37822820099a" providerId="ADAL" clId="{BE9D3F74-70CB-4A49-970D-11D917486CCC}" dt="2020-10-21T05:17:29.653" v="14156" actId="20577"/>
          <ac:spMkLst>
            <pc:docMk/>
            <pc:sldMk cId="2038431587" sldId="335"/>
            <ac:spMk id="5" creationId="{EC64419E-33FF-4669-97EF-E07719AC5E82}"/>
          </ac:spMkLst>
        </pc:spChg>
      </pc:sldChg>
      <pc:sldChg chg="new del">
        <pc:chgData name="Nick Salch" userId="47ab95ae-ac26-4648-966b-37822820099a" providerId="ADAL" clId="{BE9D3F74-70CB-4A49-970D-11D917486CCC}" dt="2020-10-20T18:32:05.052" v="335" actId="2696"/>
        <pc:sldMkLst>
          <pc:docMk/>
          <pc:sldMk cId="1494092981" sldId="336"/>
        </pc:sldMkLst>
      </pc:sldChg>
      <pc:sldChg chg="addSp delSp modSp new mod">
        <pc:chgData name="Nick Salch" userId="47ab95ae-ac26-4648-966b-37822820099a" providerId="ADAL" clId="{BE9D3F74-70CB-4A49-970D-11D917486CCC}" dt="2020-10-20T19:42:39.516" v="2391" actId="20577"/>
        <pc:sldMkLst>
          <pc:docMk/>
          <pc:sldMk cId="4232668975" sldId="336"/>
        </pc:sldMkLst>
        <pc:spChg chg="mod">
          <ac:chgData name="Nick Salch" userId="47ab95ae-ac26-4648-966b-37822820099a" providerId="ADAL" clId="{BE9D3F74-70CB-4A49-970D-11D917486CCC}" dt="2020-10-20T19:42:39.516" v="2391" actId="20577"/>
          <ac:spMkLst>
            <pc:docMk/>
            <pc:sldMk cId="4232668975" sldId="336"/>
            <ac:spMk id="2" creationId="{1A44C955-6EA3-4AA1-90AD-82541A00D010}"/>
          </ac:spMkLst>
        </pc:spChg>
        <pc:spChg chg="del mod">
          <ac:chgData name="Nick Salch" userId="47ab95ae-ac26-4648-966b-37822820099a" providerId="ADAL" clId="{BE9D3F74-70CB-4A49-970D-11D917486CCC}" dt="2020-10-20T19:41:04.012" v="1975" actId="12084"/>
          <ac:spMkLst>
            <pc:docMk/>
            <pc:sldMk cId="4232668975" sldId="336"/>
            <ac:spMk id="3" creationId="{5CE8AC6F-3576-4566-824E-E9E58433D7BF}"/>
          </ac:spMkLst>
        </pc:spChg>
        <pc:graphicFrameChg chg="add mod">
          <ac:chgData name="Nick Salch" userId="47ab95ae-ac26-4648-966b-37822820099a" providerId="ADAL" clId="{BE9D3F74-70CB-4A49-970D-11D917486CCC}" dt="2020-10-20T19:42:27.748" v="2375" actId="20577"/>
          <ac:graphicFrameMkLst>
            <pc:docMk/>
            <pc:sldMk cId="4232668975" sldId="336"/>
            <ac:graphicFrameMk id="4" creationId="{B5C2D5C1-8AE9-41EC-AEC1-2A2445B0EECB}"/>
          </ac:graphicFrameMkLst>
        </pc:graphicFrameChg>
      </pc:sldChg>
      <pc:sldChg chg="addSp delSp modSp new mod">
        <pc:chgData name="Nick Salch" userId="47ab95ae-ac26-4648-966b-37822820099a" providerId="ADAL" clId="{BE9D3F74-70CB-4A49-970D-11D917486CCC}" dt="2020-10-21T00:43:33.844" v="3544" actId="14100"/>
        <pc:sldMkLst>
          <pc:docMk/>
          <pc:sldMk cId="2717152488" sldId="337"/>
        </pc:sldMkLst>
        <pc:spChg chg="mod">
          <ac:chgData name="Nick Salch" userId="47ab95ae-ac26-4648-966b-37822820099a" providerId="ADAL" clId="{BE9D3F74-70CB-4A49-970D-11D917486CCC}" dt="2020-10-21T00:11:24.961" v="2414" actId="20577"/>
          <ac:spMkLst>
            <pc:docMk/>
            <pc:sldMk cId="2717152488" sldId="337"/>
            <ac:spMk id="2" creationId="{5395F249-8F25-48A3-9344-B682884F36B3}"/>
          </ac:spMkLst>
        </pc:spChg>
        <pc:spChg chg="del mod">
          <ac:chgData name="Nick Salch" userId="47ab95ae-ac26-4648-966b-37822820099a" providerId="ADAL" clId="{BE9D3F74-70CB-4A49-970D-11D917486CCC}" dt="2020-10-21T00:43:00.536" v="3477" actId="12084"/>
          <ac:spMkLst>
            <pc:docMk/>
            <pc:sldMk cId="2717152488" sldId="337"/>
            <ac:spMk id="3" creationId="{CE1806C0-B606-46AF-9572-E7CB7308DF7B}"/>
          </ac:spMkLst>
        </pc:spChg>
        <pc:spChg chg="add mod">
          <ac:chgData name="Nick Salch" userId="47ab95ae-ac26-4648-966b-37822820099a" providerId="ADAL" clId="{BE9D3F74-70CB-4A49-970D-11D917486CCC}" dt="2020-10-21T00:33:17.945" v="2940" actId="1076"/>
          <ac:spMkLst>
            <pc:docMk/>
            <pc:sldMk cId="2717152488" sldId="337"/>
            <ac:spMk id="4" creationId="{D1EA4D08-EC95-4DB2-8BF9-83BF3CAE7E6F}"/>
          </ac:spMkLst>
        </pc:spChg>
        <pc:graphicFrameChg chg="add mod">
          <ac:chgData name="Nick Salch" userId="47ab95ae-ac26-4648-966b-37822820099a" providerId="ADAL" clId="{BE9D3F74-70CB-4A49-970D-11D917486CCC}" dt="2020-10-21T00:43:33.844" v="3544" actId="14100"/>
          <ac:graphicFrameMkLst>
            <pc:docMk/>
            <pc:sldMk cId="2717152488" sldId="337"/>
            <ac:graphicFrameMk id="5" creationId="{AD086B97-AA2F-4015-BF7C-7A7E57F8E24F}"/>
          </ac:graphicFrameMkLst>
        </pc:graphicFrameChg>
      </pc:sldChg>
      <pc:sldChg chg="addSp delSp modSp new mod ord">
        <pc:chgData name="Nick Salch" userId="47ab95ae-ac26-4648-966b-37822820099a" providerId="ADAL" clId="{BE9D3F74-70CB-4A49-970D-11D917486CCC}" dt="2020-10-21T01:48:04.547" v="6665" actId="20577"/>
        <pc:sldMkLst>
          <pc:docMk/>
          <pc:sldMk cId="1761295383" sldId="338"/>
        </pc:sldMkLst>
        <pc:spChg chg="mod">
          <ac:chgData name="Nick Salch" userId="47ab95ae-ac26-4648-966b-37822820099a" providerId="ADAL" clId="{BE9D3F74-70CB-4A49-970D-11D917486CCC}" dt="2020-10-21T00:33:34.137" v="2963" actId="20577"/>
          <ac:spMkLst>
            <pc:docMk/>
            <pc:sldMk cId="1761295383" sldId="338"/>
            <ac:spMk id="2" creationId="{E4E2B0A5-63C2-4F1C-AC68-9885BCBC6871}"/>
          </ac:spMkLst>
        </pc:spChg>
        <pc:spChg chg="del mod">
          <ac:chgData name="Nick Salch" userId="47ab95ae-ac26-4648-966b-37822820099a" providerId="ADAL" clId="{BE9D3F74-70CB-4A49-970D-11D917486CCC}" dt="2020-10-21T00:42:14.813" v="3476" actId="12084"/>
          <ac:spMkLst>
            <pc:docMk/>
            <pc:sldMk cId="1761295383" sldId="338"/>
            <ac:spMk id="3" creationId="{C3B172ED-CF77-46A8-A4D9-BDE70362705C}"/>
          </ac:spMkLst>
        </pc:spChg>
        <pc:spChg chg="add">
          <ac:chgData name="Nick Salch" userId="47ab95ae-ac26-4648-966b-37822820099a" providerId="ADAL" clId="{BE9D3F74-70CB-4A49-970D-11D917486CCC}" dt="2020-10-21T00:34:24.322" v="3052" actId="22"/>
          <ac:spMkLst>
            <pc:docMk/>
            <pc:sldMk cId="1761295383" sldId="338"/>
            <ac:spMk id="5" creationId="{2BAE3C4A-9F3D-4322-9DB0-9D6D5CDA6CDA}"/>
          </ac:spMkLst>
        </pc:spChg>
        <pc:spChg chg="add mod">
          <ac:chgData name="Nick Salch" userId="47ab95ae-ac26-4648-966b-37822820099a" providerId="ADAL" clId="{BE9D3F74-70CB-4A49-970D-11D917486CCC}" dt="2020-10-21T00:44:46.577" v="3569" actId="207"/>
          <ac:spMkLst>
            <pc:docMk/>
            <pc:sldMk cId="1761295383" sldId="338"/>
            <ac:spMk id="8" creationId="{4FCEACD9-1D53-4F4E-B43F-379CAA218FA0}"/>
          </ac:spMkLst>
        </pc:spChg>
        <pc:graphicFrameChg chg="add mod">
          <ac:chgData name="Nick Salch" userId="47ab95ae-ac26-4648-966b-37822820099a" providerId="ADAL" clId="{BE9D3F74-70CB-4A49-970D-11D917486CCC}" dt="2020-10-21T01:48:04.547" v="6665" actId="20577"/>
          <ac:graphicFrameMkLst>
            <pc:docMk/>
            <pc:sldMk cId="1761295383" sldId="338"/>
            <ac:graphicFrameMk id="6" creationId="{483E1BBB-0E1F-435A-8D07-80E2AFBF8180}"/>
          </ac:graphicFrameMkLst>
        </pc:graphicFrameChg>
      </pc:sldChg>
      <pc:sldChg chg="addSp modSp new mod ord modNotesTx">
        <pc:chgData name="Nick Salch" userId="47ab95ae-ac26-4648-966b-37822820099a" providerId="ADAL" clId="{BE9D3F74-70CB-4A49-970D-11D917486CCC}" dt="2020-10-21T01:48:54.814" v="6769" actId="20577"/>
        <pc:sldMkLst>
          <pc:docMk/>
          <pc:sldMk cId="2727859444" sldId="339"/>
        </pc:sldMkLst>
        <pc:spChg chg="mod">
          <ac:chgData name="Nick Salch" userId="47ab95ae-ac26-4648-966b-37822820099a" providerId="ADAL" clId="{BE9D3F74-70CB-4A49-970D-11D917486CCC}" dt="2020-10-21T00:52:22.480" v="5383" actId="20577"/>
          <ac:spMkLst>
            <pc:docMk/>
            <pc:sldMk cId="2727859444" sldId="339"/>
            <ac:spMk id="2" creationId="{D4856313-C9D1-42FF-8A36-159E054A42C8}"/>
          </ac:spMkLst>
        </pc:spChg>
        <pc:spChg chg="mod">
          <ac:chgData name="Nick Salch" userId="47ab95ae-ac26-4648-966b-37822820099a" providerId="ADAL" clId="{BE9D3F74-70CB-4A49-970D-11D917486CCC}" dt="2020-10-21T00:52:12.092" v="5377" actId="27636"/>
          <ac:spMkLst>
            <pc:docMk/>
            <pc:sldMk cId="2727859444" sldId="339"/>
            <ac:spMk id="3" creationId="{016A03DB-9434-4C24-8455-FA3890F691E8}"/>
          </ac:spMkLst>
        </pc:spChg>
        <pc:spChg chg="add">
          <ac:chgData name="Nick Salch" userId="47ab95ae-ac26-4648-966b-37822820099a" providerId="ADAL" clId="{BE9D3F74-70CB-4A49-970D-11D917486CCC}" dt="2020-10-21T00:50:46.522" v="5212" actId="22"/>
          <ac:spMkLst>
            <pc:docMk/>
            <pc:sldMk cId="2727859444" sldId="339"/>
            <ac:spMk id="5" creationId="{BFF977A1-179D-4AB7-8630-7BC763E8D2CC}"/>
          </ac:spMkLst>
        </pc:spChg>
      </pc:sldChg>
      <pc:sldChg chg="modSp add mod modNotesTx">
        <pc:chgData name="Nick Salch" userId="47ab95ae-ac26-4648-966b-37822820099a" providerId="ADAL" clId="{BE9D3F74-70CB-4A49-970D-11D917486CCC}" dt="2020-10-21T05:16:09.934" v="14048" actId="6549"/>
        <pc:sldMkLst>
          <pc:docMk/>
          <pc:sldMk cId="3375761672" sldId="340"/>
        </pc:sldMkLst>
        <pc:spChg chg="mod">
          <ac:chgData name="Nick Salch" userId="47ab95ae-ac26-4648-966b-37822820099a" providerId="ADAL" clId="{BE9D3F74-70CB-4A49-970D-11D917486CCC}" dt="2020-10-21T05:16:09.934" v="14048" actId="6549"/>
          <ac:spMkLst>
            <pc:docMk/>
            <pc:sldMk cId="3375761672" sldId="340"/>
            <ac:spMk id="2" creationId="{74CD77A6-E28D-4D8D-9FE5-64ADAA827AC9}"/>
          </ac:spMkLst>
        </pc:spChg>
      </pc:sldChg>
      <pc:sldChg chg="modSp add mod">
        <pc:chgData name="Nick Salch" userId="47ab95ae-ac26-4648-966b-37822820099a" providerId="ADAL" clId="{BE9D3F74-70CB-4A49-970D-11D917486CCC}" dt="2020-10-21T05:16:50.995" v="14124" actId="20577"/>
        <pc:sldMkLst>
          <pc:docMk/>
          <pc:sldMk cId="3305365861" sldId="341"/>
        </pc:sldMkLst>
        <pc:spChg chg="mod">
          <ac:chgData name="Nick Salch" userId="47ab95ae-ac26-4648-966b-37822820099a" providerId="ADAL" clId="{BE9D3F74-70CB-4A49-970D-11D917486CCC}" dt="2020-10-21T05:16:50.995" v="14124" actId="20577"/>
          <ac:spMkLst>
            <pc:docMk/>
            <pc:sldMk cId="3305365861" sldId="341"/>
            <ac:spMk id="5" creationId="{55182462-DFDF-4D48-A92C-42FD52821C4E}"/>
          </ac:spMkLst>
        </pc:spChg>
      </pc:sldChg>
      <pc:sldChg chg="modSp new mod ord modNotesTx">
        <pc:chgData name="Nick Salch" userId="47ab95ae-ac26-4648-966b-37822820099a" providerId="ADAL" clId="{BE9D3F74-70CB-4A49-970D-11D917486CCC}" dt="2020-10-21T01:47:23.148" v="6658" actId="20577"/>
        <pc:sldMkLst>
          <pc:docMk/>
          <pc:sldMk cId="1446257454" sldId="342"/>
        </pc:sldMkLst>
        <pc:spChg chg="mod">
          <ac:chgData name="Nick Salch" userId="47ab95ae-ac26-4648-966b-37822820099a" providerId="ADAL" clId="{BE9D3F74-70CB-4A49-970D-11D917486CCC}" dt="2020-10-21T01:38:28.521" v="5550" actId="20577"/>
          <ac:spMkLst>
            <pc:docMk/>
            <pc:sldMk cId="1446257454" sldId="342"/>
            <ac:spMk id="2" creationId="{9401D75A-15FE-4FA9-8BC7-CE9DCA0D99EA}"/>
          </ac:spMkLst>
        </pc:spChg>
        <pc:spChg chg="mod">
          <ac:chgData name="Nick Salch" userId="47ab95ae-ac26-4648-966b-37822820099a" providerId="ADAL" clId="{BE9D3F74-70CB-4A49-970D-11D917486CCC}" dt="2020-10-21T01:46:58.829" v="6584" actId="20577"/>
          <ac:spMkLst>
            <pc:docMk/>
            <pc:sldMk cId="1446257454" sldId="342"/>
            <ac:spMk id="3" creationId="{12D226AD-FECF-4F60-820D-33CA7165E910}"/>
          </ac:spMkLst>
        </pc:spChg>
      </pc:sldChg>
      <pc:sldChg chg="new del">
        <pc:chgData name="Nick Salch" userId="47ab95ae-ac26-4648-966b-37822820099a" providerId="ADAL" clId="{BE9D3F74-70CB-4A49-970D-11D917486CCC}" dt="2020-10-21T01:38:21.750" v="5528" actId="680"/>
        <pc:sldMkLst>
          <pc:docMk/>
          <pc:sldMk cId="3163068946" sldId="342"/>
        </pc:sldMkLst>
      </pc:sldChg>
      <pc:sldChg chg="addSp delSp modSp new mod modNotesTx">
        <pc:chgData name="Nick Salch" userId="47ab95ae-ac26-4648-966b-37822820099a" providerId="ADAL" clId="{BE9D3F74-70CB-4A49-970D-11D917486CCC}" dt="2020-10-21T02:18:35.389" v="9504" actId="20577"/>
        <pc:sldMkLst>
          <pc:docMk/>
          <pc:sldMk cId="1589141951" sldId="343"/>
        </pc:sldMkLst>
        <pc:spChg chg="mod">
          <ac:chgData name="Nick Salch" userId="47ab95ae-ac26-4648-966b-37822820099a" providerId="ADAL" clId="{BE9D3F74-70CB-4A49-970D-11D917486CCC}" dt="2020-10-21T01:50:34.155" v="7019" actId="20577"/>
          <ac:spMkLst>
            <pc:docMk/>
            <pc:sldMk cId="1589141951" sldId="343"/>
            <ac:spMk id="2" creationId="{BCAF73FB-0F14-444B-90F0-878723822DC6}"/>
          </ac:spMkLst>
        </pc:spChg>
        <pc:spChg chg="del mod">
          <ac:chgData name="Nick Salch" userId="47ab95ae-ac26-4648-966b-37822820099a" providerId="ADAL" clId="{BE9D3F74-70CB-4A49-970D-11D917486CCC}" dt="2020-10-21T01:56:20.873" v="7887" actId="12084"/>
          <ac:spMkLst>
            <pc:docMk/>
            <pc:sldMk cId="1589141951" sldId="343"/>
            <ac:spMk id="3" creationId="{86FE28ED-8EEE-4535-BDE3-EB842E8E55F6}"/>
          </ac:spMkLst>
        </pc:spChg>
        <pc:spChg chg="add">
          <ac:chgData name="Nick Salch" userId="47ab95ae-ac26-4648-966b-37822820099a" providerId="ADAL" clId="{BE9D3F74-70CB-4A49-970D-11D917486CCC}" dt="2020-10-21T01:51:33.269" v="7223" actId="22"/>
          <ac:spMkLst>
            <pc:docMk/>
            <pc:sldMk cId="1589141951" sldId="343"/>
            <ac:spMk id="5" creationId="{7437B739-4422-4D21-9887-7DA10DDE6E73}"/>
          </ac:spMkLst>
        </pc:spChg>
        <pc:spChg chg="add del mod">
          <ac:chgData name="Nick Salch" userId="47ab95ae-ac26-4648-966b-37822820099a" providerId="ADAL" clId="{BE9D3F74-70CB-4A49-970D-11D917486CCC}" dt="2020-10-21T01:55:26.309" v="7884" actId="767"/>
          <ac:spMkLst>
            <pc:docMk/>
            <pc:sldMk cId="1589141951" sldId="343"/>
            <ac:spMk id="6" creationId="{6E657FC9-AEE2-45E2-92D2-080AD8DFD258}"/>
          </ac:spMkLst>
        </pc:spChg>
        <pc:spChg chg="add mod">
          <ac:chgData name="Nick Salch" userId="47ab95ae-ac26-4648-966b-37822820099a" providerId="ADAL" clId="{BE9D3F74-70CB-4A49-970D-11D917486CCC}" dt="2020-10-21T02:04:41.535" v="8394" actId="313"/>
          <ac:spMkLst>
            <pc:docMk/>
            <pc:sldMk cId="1589141951" sldId="343"/>
            <ac:spMk id="9" creationId="{1231294A-A0D0-433A-9002-0F31F48B2E22}"/>
          </ac:spMkLst>
        </pc:spChg>
        <pc:graphicFrameChg chg="add del mod">
          <ac:chgData name="Nick Salch" userId="47ab95ae-ac26-4648-966b-37822820099a" providerId="ADAL" clId="{BE9D3F74-70CB-4A49-970D-11D917486CCC}" dt="2020-10-21T02:02:09.357" v="8002" actId="478"/>
          <ac:graphicFrameMkLst>
            <pc:docMk/>
            <pc:sldMk cId="1589141951" sldId="343"/>
            <ac:graphicFrameMk id="7" creationId="{D3AE7FA1-EDC2-40F4-AA06-D77869370ED7}"/>
          </ac:graphicFrameMkLst>
        </pc:graphicFrameChg>
      </pc:sldChg>
      <pc:sldChg chg="addSp delSp modSp new mod modNotesTx">
        <pc:chgData name="Nick Salch" userId="47ab95ae-ac26-4648-966b-37822820099a" providerId="ADAL" clId="{BE9D3F74-70CB-4A49-970D-11D917486CCC}" dt="2020-10-21T02:17:37.699" v="9388" actId="20577"/>
        <pc:sldMkLst>
          <pc:docMk/>
          <pc:sldMk cId="3152678490" sldId="344"/>
        </pc:sldMkLst>
        <pc:spChg chg="mod">
          <ac:chgData name="Nick Salch" userId="47ab95ae-ac26-4648-966b-37822820099a" providerId="ADAL" clId="{BE9D3F74-70CB-4A49-970D-11D917486CCC}" dt="2020-10-21T02:06:43.752" v="8718" actId="20577"/>
          <ac:spMkLst>
            <pc:docMk/>
            <pc:sldMk cId="3152678490" sldId="344"/>
            <ac:spMk id="2" creationId="{73EFBBE9-5977-4E1A-A627-B423671ACDC6}"/>
          </ac:spMkLst>
        </pc:spChg>
        <pc:spChg chg="del mod">
          <ac:chgData name="Nick Salch" userId="47ab95ae-ac26-4648-966b-37822820099a" providerId="ADAL" clId="{BE9D3F74-70CB-4A49-970D-11D917486CCC}" dt="2020-10-21T02:05:29.992" v="8447" actId="3680"/>
          <ac:spMkLst>
            <pc:docMk/>
            <pc:sldMk cId="3152678490" sldId="344"/>
            <ac:spMk id="3" creationId="{AB1FDDF6-4B59-44F6-9D72-46CE91E57736}"/>
          </ac:spMkLst>
        </pc:spChg>
        <pc:graphicFrameChg chg="add mod ord modGraphic">
          <ac:chgData name="Nick Salch" userId="47ab95ae-ac26-4648-966b-37822820099a" providerId="ADAL" clId="{BE9D3F74-70CB-4A49-970D-11D917486CCC}" dt="2020-10-21T02:17:37.699" v="9388" actId="20577"/>
          <ac:graphicFrameMkLst>
            <pc:docMk/>
            <pc:sldMk cId="3152678490" sldId="344"/>
            <ac:graphicFrameMk id="4" creationId="{E346C408-7384-490E-82B1-8DDF9455EC31}"/>
          </ac:graphicFrameMkLst>
        </pc:graphicFrameChg>
      </pc:sldChg>
      <pc:sldChg chg="modSp new mod modNotesTx">
        <pc:chgData name="Nick Salch" userId="47ab95ae-ac26-4648-966b-37822820099a" providerId="ADAL" clId="{BE9D3F74-70CB-4A49-970D-11D917486CCC}" dt="2020-10-21T03:16:43.002" v="12044" actId="20577"/>
        <pc:sldMkLst>
          <pc:docMk/>
          <pc:sldMk cId="1926370703" sldId="345"/>
        </pc:sldMkLst>
        <pc:spChg chg="mod">
          <ac:chgData name="Nick Salch" userId="47ab95ae-ac26-4648-966b-37822820099a" providerId="ADAL" clId="{BE9D3F74-70CB-4A49-970D-11D917486CCC}" dt="2020-10-21T03:09:38.360" v="11357" actId="20577"/>
          <ac:spMkLst>
            <pc:docMk/>
            <pc:sldMk cId="1926370703" sldId="345"/>
            <ac:spMk id="2" creationId="{566BC725-94CA-468E-A913-699FC82B2520}"/>
          </ac:spMkLst>
        </pc:spChg>
        <pc:spChg chg="mod">
          <ac:chgData name="Nick Salch" userId="47ab95ae-ac26-4648-966b-37822820099a" providerId="ADAL" clId="{BE9D3F74-70CB-4A49-970D-11D917486CCC}" dt="2020-10-21T03:16:43.002" v="12044" actId="20577"/>
          <ac:spMkLst>
            <pc:docMk/>
            <pc:sldMk cId="1926370703" sldId="345"/>
            <ac:spMk id="3" creationId="{FDCC13E0-FECD-4750-8EAA-5DDB32B73897}"/>
          </ac:spMkLst>
        </pc:spChg>
      </pc:sldChg>
      <pc:sldChg chg="addSp modSp new mod ord modNotesTx">
        <pc:chgData name="Nick Salch" userId="47ab95ae-ac26-4648-966b-37822820099a" providerId="ADAL" clId="{BE9D3F74-70CB-4A49-970D-11D917486CCC}" dt="2020-10-21T02:27:31.501" v="10992" actId="20577"/>
        <pc:sldMkLst>
          <pc:docMk/>
          <pc:sldMk cId="2553919360" sldId="346"/>
        </pc:sldMkLst>
        <pc:spChg chg="mod">
          <ac:chgData name="Nick Salch" userId="47ab95ae-ac26-4648-966b-37822820099a" providerId="ADAL" clId="{BE9D3F74-70CB-4A49-970D-11D917486CCC}" dt="2020-10-21T02:20:30.004" v="9684" actId="20577"/>
          <ac:spMkLst>
            <pc:docMk/>
            <pc:sldMk cId="2553919360" sldId="346"/>
            <ac:spMk id="2" creationId="{92AB9C32-EA70-4A17-B7B8-7FDF5E96D284}"/>
          </ac:spMkLst>
        </pc:spChg>
        <pc:spChg chg="mod">
          <ac:chgData name="Nick Salch" userId="47ab95ae-ac26-4648-966b-37822820099a" providerId="ADAL" clId="{BE9D3F74-70CB-4A49-970D-11D917486CCC}" dt="2020-10-21T02:27:31.501" v="10992" actId="20577"/>
          <ac:spMkLst>
            <pc:docMk/>
            <pc:sldMk cId="2553919360" sldId="346"/>
            <ac:spMk id="3" creationId="{5FEC3CF0-A3A5-4711-BE0A-6FDC2199D72C}"/>
          </ac:spMkLst>
        </pc:spChg>
        <pc:spChg chg="add">
          <ac:chgData name="Nick Salch" userId="47ab95ae-ac26-4648-966b-37822820099a" providerId="ADAL" clId="{BE9D3F74-70CB-4A49-970D-11D917486CCC}" dt="2020-10-21T02:21:35.894" v="9840" actId="22"/>
          <ac:spMkLst>
            <pc:docMk/>
            <pc:sldMk cId="2553919360" sldId="346"/>
            <ac:spMk id="5" creationId="{532EF30C-B68D-41A8-AE3A-62ED4FB9DB9E}"/>
          </ac:spMkLst>
        </pc:spChg>
      </pc:sldChg>
      <pc:sldChg chg="addSp delSp modSp new mod">
        <pc:chgData name="Nick Salch" userId="47ab95ae-ac26-4648-966b-37822820099a" providerId="ADAL" clId="{BE9D3F74-70CB-4A49-970D-11D917486CCC}" dt="2020-10-21T02:50:08.287" v="11120" actId="20577"/>
        <pc:sldMkLst>
          <pc:docMk/>
          <pc:sldMk cId="2479755863" sldId="347"/>
        </pc:sldMkLst>
        <pc:spChg chg="mod">
          <ac:chgData name="Nick Salch" userId="47ab95ae-ac26-4648-966b-37822820099a" providerId="ADAL" clId="{BE9D3F74-70CB-4A49-970D-11D917486CCC}" dt="2020-10-21T02:26:18.983" v="10703" actId="20577"/>
          <ac:spMkLst>
            <pc:docMk/>
            <pc:sldMk cId="2479755863" sldId="347"/>
            <ac:spMk id="2" creationId="{40689E7C-A9EF-494D-BDA8-06CA6CDBE35C}"/>
          </ac:spMkLst>
        </pc:spChg>
        <pc:spChg chg="add del mod">
          <ac:chgData name="Nick Salch" userId="47ab95ae-ac26-4648-966b-37822820099a" providerId="ADAL" clId="{BE9D3F74-70CB-4A49-970D-11D917486CCC}" dt="2020-10-21T02:50:08.287" v="11120" actId="20577"/>
          <ac:spMkLst>
            <pc:docMk/>
            <pc:sldMk cId="2479755863" sldId="347"/>
            <ac:spMk id="3" creationId="{3D6B9282-880B-447E-BB3A-6BA9AC62BDFF}"/>
          </ac:spMkLst>
        </pc:spChg>
        <pc:graphicFrameChg chg="add del mod">
          <ac:chgData name="Nick Salch" userId="47ab95ae-ac26-4648-966b-37822820099a" providerId="ADAL" clId="{BE9D3F74-70CB-4A49-970D-11D917486CCC}" dt="2020-10-21T02:29:15.275" v="11071" actId="12084"/>
          <ac:graphicFrameMkLst>
            <pc:docMk/>
            <pc:sldMk cId="2479755863" sldId="347"/>
            <ac:graphicFrameMk id="4" creationId="{F2996534-E2A5-4788-A2AF-A6D275A6F1DF}"/>
          </ac:graphicFrameMkLst>
        </pc:graphicFrameChg>
      </pc:sldChg>
      <pc:sldChg chg="modSp new mod">
        <pc:chgData name="Nick Salch" userId="47ab95ae-ac26-4648-966b-37822820099a" providerId="ADAL" clId="{BE9D3F74-70CB-4A49-970D-11D917486CCC}" dt="2020-10-21T05:19:19.698" v="14198" actId="20577"/>
        <pc:sldMkLst>
          <pc:docMk/>
          <pc:sldMk cId="1201045267" sldId="348"/>
        </pc:sldMkLst>
        <pc:spChg chg="mod">
          <ac:chgData name="Nick Salch" userId="47ab95ae-ac26-4648-966b-37822820099a" providerId="ADAL" clId="{BE9D3F74-70CB-4A49-970D-11D917486CCC}" dt="2020-10-21T03:08:56.445" v="11259" actId="20577"/>
          <ac:spMkLst>
            <pc:docMk/>
            <pc:sldMk cId="1201045267" sldId="348"/>
            <ac:spMk id="2" creationId="{12FEA639-FD87-49C2-B857-6E76F4354FCF}"/>
          </ac:spMkLst>
        </pc:spChg>
        <pc:spChg chg="mod">
          <ac:chgData name="Nick Salch" userId="47ab95ae-ac26-4648-966b-37822820099a" providerId="ADAL" clId="{BE9D3F74-70CB-4A49-970D-11D917486CCC}" dt="2020-10-21T05:19:19.698" v="14198" actId="20577"/>
          <ac:spMkLst>
            <pc:docMk/>
            <pc:sldMk cId="1201045267" sldId="348"/>
            <ac:spMk id="3" creationId="{B789E1A8-5F37-4189-A932-3EFD5CB8C396}"/>
          </ac:spMkLst>
        </pc:spChg>
      </pc:sldChg>
      <pc:sldChg chg="modSp new mod modNotesTx">
        <pc:chgData name="Nick Salch" userId="47ab95ae-ac26-4648-966b-37822820099a" providerId="ADAL" clId="{BE9D3F74-70CB-4A49-970D-11D917486CCC}" dt="2020-10-21T03:25:38.301" v="12937" actId="20577"/>
        <pc:sldMkLst>
          <pc:docMk/>
          <pc:sldMk cId="3395497292" sldId="349"/>
        </pc:sldMkLst>
        <pc:spChg chg="mod">
          <ac:chgData name="Nick Salch" userId="47ab95ae-ac26-4648-966b-37822820099a" providerId="ADAL" clId="{BE9D3F74-70CB-4A49-970D-11D917486CCC}" dt="2020-10-21T03:17:08.847" v="12121" actId="20577"/>
          <ac:spMkLst>
            <pc:docMk/>
            <pc:sldMk cId="3395497292" sldId="349"/>
            <ac:spMk id="2" creationId="{115B51DA-F4AF-411F-8CB2-E02E346961B2}"/>
          </ac:spMkLst>
        </pc:spChg>
        <pc:spChg chg="mod">
          <ac:chgData name="Nick Salch" userId="47ab95ae-ac26-4648-966b-37822820099a" providerId="ADAL" clId="{BE9D3F74-70CB-4A49-970D-11D917486CCC}" dt="2020-10-21T03:25:38.301" v="12937" actId="20577"/>
          <ac:spMkLst>
            <pc:docMk/>
            <pc:sldMk cId="3395497292" sldId="349"/>
            <ac:spMk id="3" creationId="{68EC848B-875C-4B20-99C6-504F84EA83E3}"/>
          </ac:spMkLst>
        </pc:spChg>
      </pc:sldChg>
      <pc:sldChg chg="modSp new mod ord">
        <pc:chgData name="Nick Salch" userId="47ab95ae-ac26-4648-966b-37822820099a" providerId="ADAL" clId="{BE9D3F74-70CB-4A49-970D-11D917486CCC}" dt="2020-10-21T05:15:04.028" v="14026" actId="5793"/>
        <pc:sldMkLst>
          <pc:docMk/>
          <pc:sldMk cId="2305712094" sldId="350"/>
        </pc:sldMkLst>
        <pc:spChg chg="mod">
          <ac:chgData name="Nick Salch" userId="47ab95ae-ac26-4648-966b-37822820099a" providerId="ADAL" clId="{BE9D3F74-70CB-4A49-970D-11D917486CCC}" dt="2020-10-21T03:29:48.344" v="13689" actId="20577"/>
          <ac:spMkLst>
            <pc:docMk/>
            <pc:sldMk cId="2305712094" sldId="350"/>
            <ac:spMk id="2" creationId="{B82F26B1-672D-44FE-8E2C-BE55956FE310}"/>
          </ac:spMkLst>
        </pc:spChg>
        <pc:spChg chg="mod">
          <ac:chgData name="Nick Salch" userId="47ab95ae-ac26-4648-966b-37822820099a" providerId="ADAL" clId="{BE9D3F74-70CB-4A49-970D-11D917486CCC}" dt="2020-10-21T05:15:04.028" v="14026" actId="5793"/>
          <ac:spMkLst>
            <pc:docMk/>
            <pc:sldMk cId="2305712094" sldId="350"/>
            <ac:spMk id="3" creationId="{82F5A5CD-DB1F-4519-ACBB-93C7352D386F}"/>
          </ac:spMkLst>
        </pc:spChg>
      </pc:sldChg>
      <pc:sldChg chg="modSp new mod modNotesTx">
        <pc:chgData name="Nick Salch" userId="47ab95ae-ac26-4648-966b-37822820099a" providerId="ADAL" clId="{BE9D3F74-70CB-4A49-970D-11D917486CCC}" dt="2020-10-21T05:14:55.885" v="14024" actId="20577"/>
        <pc:sldMkLst>
          <pc:docMk/>
          <pc:sldMk cId="1046650203" sldId="351"/>
        </pc:sldMkLst>
        <pc:spChg chg="mod">
          <ac:chgData name="Nick Salch" userId="47ab95ae-ac26-4648-966b-37822820099a" providerId="ADAL" clId="{BE9D3F74-70CB-4A49-970D-11D917486CCC}" dt="2020-10-21T05:12:41.247" v="13904" actId="20577"/>
          <ac:spMkLst>
            <pc:docMk/>
            <pc:sldMk cId="1046650203" sldId="351"/>
            <ac:spMk id="2" creationId="{BC786986-06B3-41D2-B23C-E3A555955114}"/>
          </ac:spMkLst>
        </pc:spChg>
        <pc:spChg chg="mod">
          <ac:chgData name="Nick Salch" userId="47ab95ae-ac26-4648-966b-37822820099a" providerId="ADAL" clId="{BE9D3F74-70CB-4A49-970D-11D917486CCC}" dt="2020-10-21T05:14:55.885" v="14024" actId="20577"/>
          <ac:spMkLst>
            <pc:docMk/>
            <pc:sldMk cId="1046650203" sldId="351"/>
            <ac:spMk id="3" creationId="{220AA613-0202-4A5C-9264-58A104078283}"/>
          </ac:spMkLst>
        </pc:spChg>
      </pc:sldChg>
      <pc:sldMasterChg chg="delSldLayout">
        <pc:chgData name="Nick Salch" userId="47ab95ae-ac26-4648-966b-37822820099a" providerId="ADAL" clId="{BE9D3F74-70CB-4A49-970D-11D917486CCC}" dt="2020-10-20T18:31:43.781" v="333" actId="2696"/>
        <pc:sldMasterMkLst>
          <pc:docMk/>
          <pc:sldMasterMk cId="1790270825" sldId="2147484082"/>
        </pc:sldMasterMkLst>
        <pc:sldLayoutChg chg="del">
          <pc:chgData name="Nick Salch" userId="47ab95ae-ac26-4648-966b-37822820099a" providerId="ADAL" clId="{BE9D3F74-70CB-4A49-970D-11D917486CCC}" dt="2020-10-20T18:31:43.781" v="333" actId="2696"/>
          <pc:sldLayoutMkLst>
            <pc:docMk/>
            <pc:sldMasterMk cId="1790270825" sldId="2147484082"/>
            <pc:sldLayoutMk cId="1824892212" sldId="2147484269"/>
          </pc:sldLayoutMkLst>
        </pc:sldLayoutChg>
        <pc:sldLayoutChg chg="del">
          <pc:chgData name="Nick Salch" userId="47ab95ae-ac26-4648-966b-37822820099a" providerId="ADAL" clId="{BE9D3F74-70CB-4A49-970D-11D917486CCC}" dt="2020-10-20T18:31:43.781" v="333" actId="2696"/>
          <pc:sldLayoutMkLst>
            <pc:docMk/>
            <pc:sldMasterMk cId="1790270825" sldId="2147484082"/>
            <pc:sldLayoutMk cId="532128292" sldId="2147484319"/>
          </pc:sldLayoutMkLst>
        </pc:sldLayoutChg>
      </pc:sldMasterChg>
    </pc:docChg>
  </pc:docChgLst>
</pc:chgInfo>
</file>

<file path=ppt/diagrams/_rels/data15.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image" Target="../media/image13.png"/></Relationships>
</file>

<file path=ppt/diagrams/_rels/data16.xml.rels><?xml version="1.0" encoding="UTF-8" standalone="yes"?>
<Relationships xmlns="http://schemas.openxmlformats.org/package/2006/relationships"><Relationship Id="rId2" Type="http://schemas.openxmlformats.org/officeDocument/2006/relationships/image" Target="../media/image16.svg"/><Relationship Id="rId1" Type="http://schemas.openxmlformats.org/officeDocument/2006/relationships/image" Target="../media/image15.png"/></Relationships>
</file>

<file path=ppt/diagrams/_rels/data17.xml.rels><?xml version="1.0" encoding="UTF-8" standalone="yes"?>
<Relationships xmlns="http://schemas.openxmlformats.org/package/2006/relationships"><Relationship Id="rId2" Type="http://schemas.openxmlformats.org/officeDocument/2006/relationships/image" Target="../media/image18.svg"/><Relationship Id="rId1" Type="http://schemas.openxmlformats.org/officeDocument/2006/relationships/image" Target="../media/image17.png"/></Relationships>
</file>

<file path=ppt/diagrams/_rels/data18.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image" Target="../media/image19.png"/></Relationships>
</file>

<file path=ppt/diagrams/_rels/data19.xml.rels><?xml version="1.0" encoding="UTF-8" standalone="yes"?>
<Relationships xmlns="http://schemas.openxmlformats.org/package/2006/relationships"><Relationship Id="rId2" Type="http://schemas.openxmlformats.org/officeDocument/2006/relationships/image" Target="../media/image22.svg"/><Relationship Id="rId1" Type="http://schemas.openxmlformats.org/officeDocument/2006/relationships/image" Target="../media/image21.png"/></Relationships>
</file>

<file path=ppt/diagrams/_rels/drawing15.xml.rels><?xml version="1.0" encoding="UTF-8" standalone="yes"?>
<Relationships xmlns="http://schemas.openxmlformats.org/package/2006/relationships"><Relationship Id="rId2" Type="http://schemas.openxmlformats.org/officeDocument/2006/relationships/image" Target="../media/image14.svg"/><Relationship Id="rId1" Type="http://schemas.openxmlformats.org/officeDocument/2006/relationships/image" Target="../media/image13.png"/></Relationships>
</file>

<file path=ppt/diagrams/_rels/drawing16.xml.rels><?xml version="1.0" encoding="UTF-8" standalone="yes"?>
<Relationships xmlns="http://schemas.openxmlformats.org/package/2006/relationships"><Relationship Id="rId2" Type="http://schemas.openxmlformats.org/officeDocument/2006/relationships/image" Target="../media/image16.svg"/><Relationship Id="rId1" Type="http://schemas.openxmlformats.org/officeDocument/2006/relationships/image" Target="../media/image15.png"/></Relationships>
</file>

<file path=ppt/diagrams/_rels/drawing17.xml.rels><?xml version="1.0" encoding="UTF-8" standalone="yes"?>
<Relationships xmlns="http://schemas.openxmlformats.org/package/2006/relationships"><Relationship Id="rId2" Type="http://schemas.openxmlformats.org/officeDocument/2006/relationships/image" Target="../media/image18.svg"/><Relationship Id="rId1" Type="http://schemas.openxmlformats.org/officeDocument/2006/relationships/image" Target="../media/image17.png"/></Relationships>
</file>

<file path=ppt/diagrams/_rels/drawing18.xml.rels><?xml version="1.0" encoding="UTF-8" standalone="yes"?>
<Relationships xmlns="http://schemas.openxmlformats.org/package/2006/relationships"><Relationship Id="rId2" Type="http://schemas.openxmlformats.org/officeDocument/2006/relationships/image" Target="../media/image20.svg"/><Relationship Id="rId1" Type="http://schemas.openxmlformats.org/officeDocument/2006/relationships/image" Target="../media/image19.png"/></Relationships>
</file>

<file path=ppt/diagrams/_rels/drawing19.xml.rels><?xml version="1.0" encoding="UTF-8" standalone="yes"?>
<Relationships xmlns="http://schemas.openxmlformats.org/package/2006/relationships"><Relationship Id="rId2" Type="http://schemas.openxmlformats.org/officeDocument/2006/relationships/image" Target="../media/image22.svg"/><Relationship Id="rId1" Type="http://schemas.openxmlformats.org/officeDocument/2006/relationships/image" Target="../media/image2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7D9B057-325F-40D5-B4CC-415493DFC45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512569F-8FAF-4AD9-8C95-10FC8C510CCC}">
      <dgm:prSet/>
      <dgm:spPr/>
      <dgm:t>
        <a:bodyPr/>
        <a:lstStyle/>
        <a:p>
          <a:r>
            <a:rPr lang="en-US" dirty="0"/>
            <a:t>Resources required for query execution:</a:t>
          </a:r>
        </a:p>
      </dgm:t>
    </dgm:pt>
    <dgm:pt modelId="{97AFA823-7A51-48FA-BB8B-5C4F617ED0B0}" type="parTrans" cxnId="{0F6D775C-BD3B-481D-8A2A-F9CC0FFDF387}">
      <dgm:prSet/>
      <dgm:spPr/>
      <dgm:t>
        <a:bodyPr/>
        <a:lstStyle/>
        <a:p>
          <a:endParaRPr lang="en-US"/>
        </a:p>
      </dgm:t>
    </dgm:pt>
    <dgm:pt modelId="{D30C4EF2-2766-46CE-8E90-392C1B0A1FB3}" type="sibTrans" cxnId="{0F6D775C-BD3B-481D-8A2A-F9CC0FFDF387}">
      <dgm:prSet/>
      <dgm:spPr/>
      <dgm:t>
        <a:bodyPr/>
        <a:lstStyle/>
        <a:p>
          <a:endParaRPr lang="en-US"/>
        </a:p>
      </dgm:t>
    </dgm:pt>
    <dgm:pt modelId="{EB604BE2-72B1-45D2-94DD-009F5502CCAA}">
      <dgm:prSet custT="1"/>
      <dgm:spPr/>
      <dgm:t>
        <a:bodyPr/>
        <a:lstStyle/>
        <a:p>
          <a:r>
            <a:rPr lang="en-US" sz="2000" dirty="0"/>
            <a:t>CPU</a:t>
          </a:r>
        </a:p>
      </dgm:t>
    </dgm:pt>
    <dgm:pt modelId="{54C241F0-54A0-432B-972C-E66D4ECF16DE}" type="parTrans" cxnId="{C0A14D59-5380-406F-ADE0-32782DB02EFB}">
      <dgm:prSet/>
      <dgm:spPr/>
      <dgm:t>
        <a:bodyPr/>
        <a:lstStyle/>
        <a:p>
          <a:endParaRPr lang="en-US"/>
        </a:p>
      </dgm:t>
    </dgm:pt>
    <dgm:pt modelId="{66DD53F6-EBBF-48CA-AE2C-748BFC5E651F}" type="sibTrans" cxnId="{C0A14D59-5380-406F-ADE0-32782DB02EFB}">
      <dgm:prSet/>
      <dgm:spPr/>
      <dgm:t>
        <a:bodyPr/>
        <a:lstStyle/>
        <a:p>
          <a:endParaRPr lang="en-US"/>
        </a:p>
      </dgm:t>
    </dgm:pt>
    <dgm:pt modelId="{43D42BC5-06BF-4927-9B27-CF788B1C4DBC}">
      <dgm:prSet custT="1"/>
      <dgm:spPr/>
      <dgm:t>
        <a:bodyPr/>
        <a:lstStyle/>
        <a:p>
          <a:r>
            <a:rPr lang="en-US" sz="2000" dirty="0"/>
            <a:t>Data IO</a:t>
          </a:r>
        </a:p>
      </dgm:t>
    </dgm:pt>
    <dgm:pt modelId="{78B2E83B-4525-44C8-B2BB-03E3F307CCE8}" type="parTrans" cxnId="{2AC1C533-248B-48E1-9A09-5A3DFC3A80B0}">
      <dgm:prSet/>
      <dgm:spPr/>
      <dgm:t>
        <a:bodyPr/>
        <a:lstStyle/>
        <a:p>
          <a:endParaRPr lang="en-US"/>
        </a:p>
      </dgm:t>
    </dgm:pt>
    <dgm:pt modelId="{412FC7DD-C997-4819-A635-B97C90C3E6A8}" type="sibTrans" cxnId="{2AC1C533-248B-48E1-9A09-5A3DFC3A80B0}">
      <dgm:prSet/>
      <dgm:spPr/>
      <dgm:t>
        <a:bodyPr/>
        <a:lstStyle/>
        <a:p>
          <a:endParaRPr lang="en-US"/>
        </a:p>
      </dgm:t>
    </dgm:pt>
    <dgm:pt modelId="{3CA03A54-66CE-4319-9D5C-BD58999D9DC1}">
      <dgm:prSet custT="1"/>
      <dgm:spPr/>
      <dgm:t>
        <a:bodyPr/>
        <a:lstStyle/>
        <a:p>
          <a:r>
            <a:rPr lang="en-US" sz="2000" dirty="0"/>
            <a:t>Memory</a:t>
          </a:r>
        </a:p>
      </dgm:t>
    </dgm:pt>
    <dgm:pt modelId="{CF25943B-D1CA-4C3C-9113-3A71740C63D6}" type="parTrans" cxnId="{62F59D4D-803C-4D8C-A6A2-A6433B774536}">
      <dgm:prSet/>
      <dgm:spPr/>
      <dgm:t>
        <a:bodyPr/>
        <a:lstStyle/>
        <a:p>
          <a:endParaRPr lang="en-US"/>
        </a:p>
      </dgm:t>
    </dgm:pt>
    <dgm:pt modelId="{C921DEEC-C0EC-45F1-8342-AA8F17F6E891}" type="sibTrans" cxnId="{62F59D4D-803C-4D8C-A6A2-A6433B774536}">
      <dgm:prSet/>
      <dgm:spPr/>
      <dgm:t>
        <a:bodyPr/>
        <a:lstStyle/>
        <a:p>
          <a:endParaRPr lang="en-US"/>
        </a:p>
      </dgm:t>
    </dgm:pt>
    <dgm:pt modelId="{1B8DA96A-A370-4A78-BC15-69EBA66CFFC4}">
      <dgm:prSet custT="1"/>
      <dgm:spPr/>
      <dgm:t>
        <a:bodyPr/>
        <a:lstStyle/>
        <a:p>
          <a:r>
            <a:rPr lang="en-US" sz="2000" dirty="0"/>
            <a:t>TempDB</a:t>
          </a:r>
        </a:p>
      </dgm:t>
    </dgm:pt>
    <dgm:pt modelId="{D3E4614F-2859-45A7-908E-CEE51D7C11F2}" type="parTrans" cxnId="{FD816470-BE8E-413E-8C7B-0C8870958E6D}">
      <dgm:prSet/>
      <dgm:spPr/>
      <dgm:t>
        <a:bodyPr/>
        <a:lstStyle/>
        <a:p>
          <a:endParaRPr lang="en-US"/>
        </a:p>
      </dgm:t>
    </dgm:pt>
    <dgm:pt modelId="{55EEFD37-061F-49F2-91A6-6186F3F22C78}" type="sibTrans" cxnId="{FD816470-BE8E-413E-8C7B-0C8870958E6D}">
      <dgm:prSet/>
      <dgm:spPr/>
      <dgm:t>
        <a:bodyPr/>
        <a:lstStyle/>
        <a:p>
          <a:endParaRPr lang="en-US"/>
        </a:p>
      </dgm:t>
    </dgm:pt>
    <dgm:pt modelId="{332814FB-E74E-4846-AA5C-B31444CEEC07}">
      <dgm:prSet/>
      <dgm:spPr/>
      <dgm:t>
        <a:bodyPr/>
        <a:lstStyle/>
        <a:p>
          <a:r>
            <a:rPr lang="en-US" dirty="0"/>
            <a:t>In Azure Synapse, memory is allocated per query using workload groups while CPU, Data IO, </a:t>
          </a:r>
          <a:r>
            <a:rPr lang="en-US" dirty="0" err="1"/>
            <a:t>Tempdb</a:t>
          </a:r>
          <a:r>
            <a:rPr lang="en-US" dirty="0"/>
            <a:t> are managed internally and allocated as needed for query execution.</a:t>
          </a:r>
        </a:p>
      </dgm:t>
    </dgm:pt>
    <dgm:pt modelId="{D92EC92B-2F44-441D-BBDD-F11CF33A97A3}" type="parTrans" cxnId="{930F2181-BD5C-443E-8289-1A264EA45735}">
      <dgm:prSet/>
      <dgm:spPr/>
      <dgm:t>
        <a:bodyPr/>
        <a:lstStyle/>
        <a:p>
          <a:endParaRPr lang="en-US"/>
        </a:p>
      </dgm:t>
    </dgm:pt>
    <dgm:pt modelId="{7EEBC489-DB01-4699-94A3-F150C40F19CB}" type="sibTrans" cxnId="{930F2181-BD5C-443E-8289-1A264EA45735}">
      <dgm:prSet/>
      <dgm:spPr/>
      <dgm:t>
        <a:bodyPr/>
        <a:lstStyle/>
        <a:p>
          <a:endParaRPr lang="en-US"/>
        </a:p>
      </dgm:t>
    </dgm:pt>
    <dgm:pt modelId="{0B15D806-1E44-46F7-9BDB-37011A77652A}">
      <dgm:prSet/>
      <dgm:spPr/>
      <dgm:t>
        <a:bodyPr/>
        <a:lstStyle/>
        <a:p>
          <a:r>
            <a:rPr lang="en-US"/>
            <a:t>Query concurrency is calculated by the percentage of memory allocated to each query</a:t>
          </a:r>
        </a:p>
      </dgm:t>
    </dgm:pt>
    <dgm:pt modelId="{FC03A0B7-058C-4C38-BF3D-0B03D0371079}" type="parTrans" cxnId="{8C4ACBE0-61A1-4DF7-B354-4FDBF415F310}">
      <dgm:prSet/>
      <dgm:spPr/>
      <dgm:t>
        <a:bodyPr/>
        <a:lstStyle/>
        <a:p>
          <a:endParaRPr lang="en-US"/>
        </a:p>
      </dgm:t>
    </dgm:pt>
    <dgm:pt modelId="{05CE4BA5-2CA2-4B3B-A78B-BC3924C8646D}" type="sibTrans" cxnId="{8C4ACBE0-61A1-4DF7-B354-4FDBF415F310}">
      <dgm:prSet/>
      <dgm:spPr/>
      <dgm:t>
        <a:bodyPr/>
        <a:lstStyle/>
        <a:p>
          <a:endParaRPr lang="en-US"/>
        </a:p>
      </dgm:t>
    </dgm:pt>
    <dgm:pt modelId="{A924C873-BE14-47B2-983A-0A42EEEFFDB3}">
      <dgm:prSet custT="1"/>
      <dgm:spPr/>
      <dgm:t>
        <a:bodyPr/>
        <a:lstStyle/>
        <a:p>
          <a:r>
            <a:rPr lang="en-US" sz="2000" dirty="0"/>
            <a:t>Less memory per query = higher concurrency</a:t>
          </a:r>
        </a:p>
      </dgm:t>
    </dgm:pt>
    <dgm:pt modelId="{95D446C9-4E06-484D-A3CA-61F8978DB210}" type="parTrans" cxnId="{B2CBB9B2-F7E7-4215-807E-B38862DE65C5}">
      <dgm:prSet/>
      <dgm:spPr/>
      <dgm:t>
        <a:bodyPr/>
        <a:lstStyle/>
        <a:p>
          <a:endParaRPr lang="en-US"/>
        </a:p>
      </dgm:t>
    </dgm:pt>
    <dgm:pt modelId="{CE2702B2-3DD3-46F5-9ED2-D3BAB724C2E1}" type="sibTrans" cxnId="{B2CBB9B2-F7E7-4215-807E-B38862DE65C5}">
      <dgm:prSet/>
      <dgm:spPr/>
      <dgm:t>
        <a:bodyPr/>
        <a:lstStyle/>
        <a:p>
          <a:endParaRPr lang="en-US"/>
        </a:p>
      </dgm:t>
    </dgm:pt>
    <dgm:pt modelId="{52EB169A-1FC4-458A-BF88-B6F36CA4E41B}" type="pres">
      <dgm:prSet presAssocID="{17D9B057-325F-40D5-B4CC-415493DFC455}" presName="linear" presStyleCnt="0">
        <dgm:presLayoutVars>
          <dgm:animLvl val="lvl"/>
          <dgm:resizeHandles val="exact"/>
        </dgm:presLayoutVars>
      </dgm:prSet>
      <dgm:spPr/>
    </dgm:pt>
    <dgm:pt modelId="{E8FABF8E-0682-4DDE-96C9-8ABEDB20F4E2}" type="pres">
      <dgm:prSet presAssocID="{2512569F-8FAF-4AD9-8C95-10FC8C510CCC}" presName="parentText" presStyleLbl="node1" presStyleIdx="0" presStyleCnt="3" custLinFactNeighborY="-28617">
        <dgm:presLayoutVars>
          <dgm:chMax val="0"/>
          <dgm:bulletEnabled val="1"/>
        </dgm:presLayoutVars>
      </dgm:prSet>
      <dgm:spPr/>
    </dgm:pt>
    <dgm:pt modelId="{C7C1047C-4E06-4D87-9263-79563F0609BA}" type="pres">
      <dgm:prSet presAssocID="{2512569F-8FAF-4AD9-8C95-10FC8C510CCC}" presName="childText" presStyleLbl="revTx" presStyleIdx="0" presStyleCnt="2" custLinFactNeighborX="107" custLinFactNeighborY="-30659">
        <dgm:presLayoutVars>
          <dgm:bulletEnabled val="1"/>
        </dgm:presLayoutVars>
      </dgm:prSet>
      <dgm:spPr/>
    </dgm:pt>
    <dgm:pt modelId="{1C2B36C9-BAA8-47C3-A1A8-5CF39816FA27}" type="pres">
      <dgm:prSet presAssocID="{332814FB-E74E-4846-AA5C-B31444CEEC07}" presName="parentText" presStyleLbl="node1" presStyleIdx="1" presStyleCnt="3" custLinFactY="-7297" custLinFactNeighborX="-107" custLinFactNeighborY="-100000">
        <dgm:presLayoutVars>
          <dgm:chMax val="0"/>
          <dgm:bulletEnabled val="1"/>
        </dgm:presLayoutVars>
      </dgm:prSet>
      <dgm:spPr/>
    </dgm:pt>
    <dgm:pt modelId="{27BACF1E-D51A-434B-83DB-7BA3E388F797}" type="pres">
      <dgm:prSet presAssocID="{7EEBC489-DB01-4699-94A3-F150C40F19CB}" presName="spacer" presStyleCnt="0"/>
      <dgm:spPr/>
    </dgm:pt>
    <dgm:pt modelId="{8A3D70C8-3207-4C93-9D18-9BD5E423D23A}" type="pres">
      <dgm:prSet presAssocID="{0B15D806-1E44-46F7-9BDB-37011A77652A}" presName="parentText" presStyleLbl="node1" presStyleIdx="2" presStyleCnt="3" custLinFactNeighborX="107" custLinFactNeighborY="-43003">
        <dgm:presLayoutVars>
          <dgm:chMax val="0"/>
          <dgm:bulletEnabled val="1"/>
        </dgm:presLayoutVars>
      </dgm:prSet>
      <dgm:spPr/>
    </dgm:pt>
    <dgm:pt modelId="{8402726C-1275-4E49-A13D-4A48AB4DF09D}" type="pres">
      <dgm:prSet presAssocID="{0B15D806-1E44-46F7-9BDB-37011A77652A}" presName="childText" presStyleLbl="revTx" presStyleIdx="1" presStyleCnt="2" custLinFactNeighborX="215" custLinFactNeighborY="-5110">
        <dgm:presLayoutVars>
          <dgm:bulletEnabled val="1"/>
        </dgm:presLayoutVars>
      </dgm:prSet>
      <dgm:spPr/>
    </dgm:pt>
  </dgm:ptLst>
  <dgm:cxnLst>
    <dgm:cxn modelId="{A73EC90D-8DC1-45E2-82AD-8601FFA2ECB3}" type="presOf" srcId="{A924C873-BE14-47B2-983A-0A42EEEFFDB3}" destId="{8402726C-1275-4E49-A13D-4A48AB4DF09D}" srcOrd="0" destOrd="0" presId="urn:microsoft.com/office/officeart/2005/8/layout/vList2"/>
    <dgm:cxn modelId="{C06C1F29-1CB0-4A5B-A134-D1E73A100853}" type="presOf" srcId="{2512569F-8FAF-4AD9-8C95-10FC8C510CCC}" destId="{E8FABF8E-0682-4DDE-96C9-8ABEDB20F4E2}" srcOrd="0" destOrd="0" presId="urn:microsoft.com/office/officeart/2005/8/layout/vList2"/>
    <dgm:cxn modelId="{2AC1C533-248B-48E1-9A09-5A3DFC3A80B0}" srcId="{2512569F-8FAF-4AD9-8C95-10FC8C510CCC}" destId="{43D42BC5-06BF-4927-9B27-CF788B1C4DBC}" srcOrd="1" destOrd="0" parTransId="{78B2E83B-4525-44C8-B2BB-03E3F307CCE8}" sibTransId="{412FC7DD-C997-4819-A635-B97C90C3E6A8}"/>
    <dgm:cxn modelId="{0F6D775C-BD3B-481D-8A2A-F9CC0FFDF387}" srcId="{17D9B057-325F-40D5-B4CC-415493DFC455}" destId="{2512569F-8FAF-4AD9-8C95-10FC8C510CCC}" srcOrd="0" destOrd="0" parTransId="{97AFA823-7A51-48FA-BB8B-5C4F617ED0B0}" sibTransId="{D30C4EF2-2766-46CE-8E90-392C1B0A1FB3}"/>
    <dgm:cxn modelId="{E290BA67-8E5E-4D65-833D-9D86C338545E}" type="presOf" srcId="{17D9B057-325F-40D5-B4CC-415493DFC455}" destId="{52EB169A-1FC4-458A-BF88-B6F36CA4E41B}" srcOrd="0" destOrd="0" presId="urn:microsoft.com/office/officeart/2005/8/layout/vList2"/>
    <dgm:cxn modelId="{686D254C-848E-4132-BF68-5A78CB3D9A64}" type="presOf" srcId="{332814FB-E74E-4846-AA5C-B31444CEEC07}" destId="{1C2B36C9-BAA8-47C3-A1A8-5CF39816FA27}" srcOrd="0" destOrd="0" presId="urn:microsoft.com/office/officeart/2005/8/layout/vList2"/>
    <dgm:cxn modelId="{62F59D4D-803C-4D8C-A6A2-A6433B774536}" srcId="{2512569F-8FAF-4AD9-8C95-10FC8C510CCC}" destId="{3CA03A54-66CE-4319-9D5C-BD58999D9DC1}" srcOrd="2" destOrd="0" parTransId="{CF25943B-D1CA-4C3C-9113-3A71740C63D6}" sibTransId="{C921DEEC-C0EC-45F1-8342-AA8F17F6E891}"/>
    <dgm:cxn modelId="{FD816470-BE8E-413E-8C7B-0C8870958E6D}" srcId="{2512569F-8FAF-4AD9-8C95-10FC8C510CCC}" destId="{1B8DA96A-A370-4A78-BC15-69EBA66CFFC4}" srcOrd="3" destOrd="0" parTransId="{D3E4614F-2859-45A7-908E-CEE51D7C11F2}" sibTransId="{55EEFD37-061F-49F2-91A6-6186F3F22C78}"/>
    <dgm:cxn modelId="{C0A14D59-5380-406F-ADE0-32782DB02EFB}" srcId="{2512569F-8FAF-4AD9-8C95-10FC8C510CCC}" destId="{EB604BE2-72B1-45D2-94DD-009F5502CCAA}" srcOrd="0" destOrd="0" parTransId="{54C241F0-54A0-432B-972C-E66D4ECF16DE}" sibTransId="{66DD53F6-EBBF-48CA-AE2C-748BFC5E651F}"/>
    <dgm:cxn modelId="{C259767B-86AB-49CC-8DCF-03EE54F170B7}" type="presOf" srcId="{1B8DA96A-A370-4A78-BC15-69EBA66CFFC4}" destId="{C7C1047C-4E06-4D87-9263-79563F0609BA}" srcOrd="0" destOrd="3" presId="urn:microsoft.com/office/officeart/2005/8/layout/vList2"/>
    <dgm:cxn modelId="{930F2181-BD5C-443E-8289-1A264EA45735}" srcId="{17D9B057-325F-40D5-B4CC-415493DFC455}" destId="{332814FB-E74E-4846-AA5C-B31444CEEC07}" srcOrd="1" destOrd="0" parTransId="{D92EC92B-2F44-441D-BBDD-F11CF33A97A3}" sibTransId="{7EEBC489-DB01-4699-94A3-F150C40F19CB}"/>
    <dgm:cxn modelId="{E729BB8B-2BCD-4556-8A41-0E687F16AA2E}" type="presOf" srcId="{3CA03A54-66CE-4319-9D5C-BD58999D9DC1}" destId="{C7C1047C-4E06-4D87-9263-79563F0609BA}" srcOrd="0" destOrd="2" presId="urn:microsoft.com/office/officeart/2005/8/layout/vList2"/>
    <dgm:cxn modelId="{B2CBB9B2-F7E7-4215-807E-B38862DE65C5}" srcId="{0B15D806-1E44-46F7-9BDB-37011A77652A}" destId="{A924C873-BE14-47B2-983A-0A42EEEFFDB3}" srcOrd="0" destOrd="0" parTransId="{95D446C9-4E06-484D-A3CA-61F8978DB210}" sibTransId="{CE2702B2-3DD3-46F5-9ED2-D3BAB724C2E1}"/>
    <dgm:cxn modelId="{22050CBE-708F-44BA-A89B-EEA350AD3CBF}" type="presOf" srcId="{43D42BC5-06BF-4927-9B27-CF788B1C4DBC}" destId="{C7C1047C-4E06-4D87-9263-79563F0609BA}" srcOrd="0" destOrd="1" presId="urn:microsoft.com/office/officeart/2005/8/layout/vList2"/>
    <dgm:cxn modelId="{16E0F0D4-7E6E-45A9-8866-34E45AA5DA8A}" type="presOf" srcId="{0B15D806-1E44-46F7-9BDB-37011A77652A}" destId="{8A3D70C8-3207-4C93-9D18-9BD5E423D23A}" srcOrd="0" destOrd="0" presId="urn:microsoft.com/office/officeart/2005/8/layout/vList2"/>
    <dgm:cxn modelId="{8C4ACBE0-61A1-4DF7-B354-4FDBF415F310}" srcId="{17D9B057-325F-40D5-B4CC-415493DFC455}" destId="{0B15D806-1E44-46F7-9BDB-37011A77652A}" srcOrd="2" destOrd="0" parTransId="{FC03A0B7-058C-4C38-BF3D-0B03D0371079}" sibTransId="{05CE4BA5-2CA2-4B3B-A78B-BC3924C8646D}"/>
    <dgm:cxn modelId="{3D52E1E9-BA74-4134-9A14-18EB1B7430C6}" type="presOf" srcId="{EB604BE2-72B1-45D2-94DD-009F5502CCAA}" destId="{C7C1047C-4E06-4D87-9263-79563F0609BA}" srcOrd="0" destOrd="0" presId="urn:microsoft.com/office/officeart/2005/8/layout/vList2"/>
    <dgm:cxn modelId="{B74A774E-8B45-4641-806F-6A6ABDC7F524}" type="presParOf" srcId="{52EB169A-1FC4-458A-BF88-B6F36CA4E41B}" destId="{E8FABF8E-0682-4DDE-96C9-8ABEDB20F4E2}" srcOrd="0" destOrd="0" presId="urn:microsoft.com/office/officeart/2005/8/layout/vList2"/>
    <dgm:cxn modelId="{F9D2CD16-2B45-475B-BDFC-1867574A1416}" type="presParOf" srcId="{52EB169A-1FC4-458A-BF88-B6F36CA4E41B}" destId="{C7C1047C-4E06-4D87-9263-79563F0609BA}" srcOrd="1" destOrd="0" presId="urn:microsoft.com/office/officeart/2005/8/layout/vList2"/>
    <dgm:cxn modelId="{E9056694-4178-45F1-B83D-21FDA8793B88}" type="presParOf" srcId="{52EB169A-1FC4-458A-BF88-B6F36CA4E41B}" destId="{1C2B36C9-BAA8-47C3-A1A8-5CF39816FA27}" srcOrd="2" destOrd="0" presId="urn:microsoft.com/office/officeart/2005/8/layout/vList2"/>
    <dgm:cxn modelId="{FBBC6287-141C-42A4-9D6D-98E59EE1EB69}" type="presParOf" srcId="{52EB169A-1FC4-458A-BF88-B6F36CA4E41B}" destId="{27BACF1E-D51A-434B-83DB-7BA3E388F797}" srcOrd="3" destOrd="0" presId="urn:microsoft.com/office/officeart/2005/8/layout/vList2"/>
    <dgm:cxn modelId="{E7AB4520-D0D0-40C8-8D4C-CFA1AA1CD468}" type="presParOf" srcId="{52EB169A-1FC4-458A-BF88-B6F36CA4E41B}" destId="{8A3D70C8-3207-4C93-9D18-9BD5E423D23A}" srcOrd="4" destOrd="0" presId="urn:microsoft.com/office/officeart/2005/8/layout/vList2"/>
    <dgm:cxn modelId="{C0E719BB-2128-4C45-8B46-0D66330E6020}" type="presParOf" srcId="{52EB169A-1FC4-458A-BF88-B6F36CA4E41B}" destId="{8402726C-1275-4E49-A13D-4A48AB4DF09D}"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1D2BB51-10EC-4D18-98E2-125ACA110EE8}" type="doc">
      <dgm:prSet loTypeId="urn:microsoft.com/office/officeart/2005/8/layout/vList5" loCatId="list" qsTypeId="urn:microsoft.com/office/officeart/2005/8/quickstyle/simple1" qsCatId="simple" csTypeId="urn:microsoft.com/office/officeart/2005/8/colors/accent1_2" csCatId="accent1"/>
      <dgm:spPr/>
      <dgm:t>
        <a:bodyPr/>
        <a:lstStyle/>
        <a:p>
          <a:endParaRPr lang="en-US"/>
        </a:p>
      </dgm:t>
    </dgm:pt>
    <dgm:pt modelId="{59564748-CA76-4C0D-98B8-333667F9ECE8}">
      <dgm:prSet/>
      <dgm:spPr/>
      <dgm:t>
        <a:bodyPr/>
        <a:lstStyle/>
        <a:p>
          <a:r>
            <a:rPr lang="en-US" baseline="0"/>
            <a:t>Is the distribution column included in the join criteria?</a:t>
          </a:r>
          <a:endParaRPr lang="en-US"/>
        </a:p>
      </dgm:t>
    </dgm:pt>
    <dgm:pt modelId="{ED01B025-A484-4861-96E0-BEF0C05DD8E0}" type="parTrans" cxnId="{6616FBAC-805C-405E-9D11-022F0C32CEAE}">
      <dgm:prSet/>
      <dgm:spPr/>
      <dgm:t>
        <a:bodyPr/>
        <a:lstStyle/>
        <a:p>
          <a:endParaRPr lang="en-US"/>
        </a:p>
      </dgm:t>
    </dgm:pt>
    <dgm:pt modelId="{F54D8489-2DC2-435C-A0E4-4D959EF9B17F}" type="sibTrans" cxnId="{6616FBAC-805C-405E-9D11-022F0C32CEAE}">
      <dgm:prSet/>
      <dgm:spPr/>
      <dgm:t>
        <a:bodyPr/>
        <a:lstStyle/>
        <a:p>
          <a:endParaRPr lang="en-US"/>
        </a:p>
      </dgm:t>
    </dgm:pt>
    <dgm:pt modelId="{20C010C7-D79E-4B7F-BA9D-B8B12D31C46D}">
      <dgm:prSet/>
      <dgm:spPr/>
      <dgm:t>
        <a:bodyPr/>
        <a:lstStyle/>
        <a:p>
          <a:r>
            <a:rPr lang="en-US" baseline="0"/>
            <a:t>Even if it’s not necessary, adding the distribution column to joins can help remove data movement</a:t>
          </a:r>
          <a:endParaRPr lang="en-US"/>
        </a:p>
      </dgm:t>
    </dgm:pt>
    <dgm:pt modelId="{F16E822B-5BFB-4FF5-85F7-E0150CCC36FA}" type="parTrans" cxnId="{E4F3D139-9012-4B81-A6BD-51362ABC807A}">
      <dgm:prSet/>
      <dgm:spPr/>
      <dgm:t>
        <a:bodyPr/>
        <a:lstStyle/>
        <a:p>
          <a:endParaRPr lang="en-US"/>
        </a:p>
      </dgm:t>
    </dgm:pt>
    <dgm:pt modelId="{A21E653B-AF7B-426A-952E-28F43F93D822}" type="sibTrans" cxnId="{E4F3D139-9012-4B81-A6BD-51362ABC807A}">
      <dgm:prSet/>
      <dgm:spPr/>
      <dgm:t>
        <a:bodyPr/>
        <a:lstStyle/>
        <a:p>
          <a:endParaRPr lang="en-US"/>
        </a:p>
      </dgm:t>
    </dgm:pt>
    <dgm:pt modelId="{E41DF497-C0D9-43C0-ADF9-78DCA4E1517F}">
      <dgm:prSet/>
      <dgm:spPr/>
      <dgm:t>
        <a:bodyPr/>
        <a:lstStyle/>
        <a:p>
          <a:r>
            <a:rPr lang="en-US" baseline="0"/>
            <a:t>This is also true for GROUP BY’s</a:t>
          </a:r>
          <a:endParaRPr lang="en-US"/>
        </a:p>
      </dgm:t>
    </dgm:pt>
    <dgm:pt modelId="{7A5CC5B7-907A-496D-AE99-0C410817E437}" type="parTrans" cxnId="{F7BC40E0-B7EB-4D9A-8E29-FF690F829341}">
      <dgm:prSet/>
      <dgm:spPr/>
      <dgm:t>
        <a:bodyPr/>
        <a:lstStyle/>
        <a:p>
          <a:endParaRPr lang="en-US"/>
        </a:p>
      </dgm:t>
    </dgm:pt>
    <dgm:pt modelId="{FCC4AE8C-7887-4860-B665-983CB8B0E3E6}" type="sibTrans" cxnId="{F7BC40E0-B7EB-4D9A-8E29-FF690F829341}">
      <dgm:prSet/>
      <dgm:spPr/>
      <dgm:t>
        <a:bodyPr/>
        <a:lstStyle/>
        <a:p>
          <a:endParaRPr lang="en-US"/>
        </a:p>
      </dgm:t>
    </dgm:pt>
    <dgm:pt modelId="{61DCD067-C99B-4999-9376-550AE641DAA6}">
      <dgm:prSet/>
      <dgm:spPr/>
      <dgm:t>
        <a:bodyPr/>
        <a:lstStyle/>
        <a:p>
          <a:r>
            <a:rPr lang="en-US" baseline="0"/>
            <a:t>Are the join fields calculated?</a:t>
          </a:r>
          <a:endParaRPr lang="en-US"/>
        </a:p>
      </dgm:t>
    </dgm:pt>
    <dgm:pt modelId="{50A9F611-A53C-4CB3-AA97-3D03B6E0058D}" type="parTrans" cxnId="{21CE8BDB-A2C6-4D74-B397-39B27E5F81FF}">
      <dgm:prSet/>
      <dgm:spPr/>
      <dgm:t>
        <a:bodyPr/>
        <a:lstStyle/>
        <a:p>
          <a:endParaRPr lang="en-US"/>
        </a:p>
      </dgm:t>
    </dgm:pt>
    <dgm:pt modelId="{2B51D212-3D3F-460D-8E86-0DD94C7FBEF8}" type="sibTrans" cxnId="{21CE8BDB-A2C6-4D74-B397-39B27E5F81FF}">
      <dgm:prSet/>
      <dgm:spPr/>
      <dgm:t>
        <a:bodyPr/>
        <a:lstStyle/>
        <a:p>
          <a:endParaRPr lang="en-US"/>
        </a:p>
      </dgm:t>
    </dgm:pt>
    <dgm:pt modelId="{2B18B08D-4A7A-4867-8CD9-DEB64E2BFA62}">
      <dgm:prSet/>
      <dgm:spPr/>
      <dgm:t>
        <a:bodyPr/>
        <a:lstStyle/>
        <a:p>
          <a:r>
            <a:rPr lang="en-US" baseline="0"/>
            <a:t>Optimizer cannot estimate the result if you are joining on a column whose value is calculated at query time</a:t>
          </a:r>
          <a:endParaRPr lang="en-US"/>
        </a:p>
      </dgm:t>
    </dgm:pt>
    <dgm:pt modelId="{CE4CCD25-6909-49DF-849E-EB0D62ACDD95}" type="parTrans" cxnId="{E6D3389A-015C-4081-AAFD-A9D44EBAE3F6}">
      <dgm:prSet/>
      <dgm:spPr/>
      <dgm:t>
        <a:bodyPr/>
        <a:lstStyle/>
        <a:p>
          <a:endParaRPr lang="en-US"/>
        </a:p>
      </dgm:t>
    </dgm:pt>
    <dgm:pt modelId="{A9F3809E-FC18-4154-8BC5-9C1A7BB57916}" type="sibTrans" cxnId="{E6D3389A-015C-4081-AAFD-A9D44EBAE3F6}">
      <dgm:prSet/>
      <dgm:spPr/>
      <dgm:t>
        <a:bodyPr/>
        <a:lstStyle/>
        <a:p>
          <a:endParaRPr lang="en-US"/>
        </a:p>
      </dgm:t>
    </dgm:pt>
    <dgm:pt modelId="{50A06AEC-0CA7-42C3-93EA-3727CD7CA6EE}">
      <dgm:prSet/>
      <dgm:spPr/>
      <dgm:t>
        <a:bodyPr/>
        <a:lstStyle/>
        <a:p>
          <a:r>
            <a:rPr lang="en-US" baseline="0"/>
            <a:t>Order of join execution is not guaranteed</a:t>
          </a:r>
          <a:endParaRPr lang="en-US"/>
        </a:p>
      </dgm:t>
    </dgm:pt>
    <dgm:pt modelId="{18D82E12-7411-4811-B0E9-46539146BF2C}" type="parTrans" cxnId="{9ACD97D5-FCCB-4D68-9DDB-FA3A44A7512D}">
      <dgm:prSet/>
      <dgm:spPr/>
      <dgm:t>
        <a:bodyPr/>
        <a:lstStyle/>
        <a:p>
          <a:endParaRPr lang="en-US"/>
        </a:p>
      </dgm:t>
    </dgm:pt>
    <dgm:pt modelId="{E0891625-2D8F-416B-AF9C-95AAF75ADD70}" type="sibTrans" cxnId="{9ACD97D5-FCCB-4D68-9DDB-FA3A44A7512D}">
      <dgm:prSet/>
      <dgm:spPr/>
      <dgm:t>
        <a:bodyPr/>
        <a:lstStyle/>
        <a:p>
          <a:endParaRPr lang="en-US"/>
        </a:p>
      </dgm:t>
    </dgm:pt>
    <dgm:pt modelId="{AD3F48CC-CDCF-4D58-ABAE-3454F2A5B1CE}">
      <dgm:prSet/>
      <dgm:spPr/>
      <dgm:t>
        <a:bodyPr/>
        <a:lstStyle/>
        <a:p>
          <a:r>
            <a:rPr lang="en-US" baseline="0"/>
            <a:t>Optimizer may choose to change join order in order to make the plan more efficient</a:t>
          </a:r>
          <a:endParaRPr lang="en-US"/>
        </a:p>
      </dgm:t>
    </dgm:pt>
    <dgm:pt modelId="{9B1346F5-2D57-4E1F-803F-3A5105BBE3B7}" type="parTrans" cxnId="{7475DE87-30B3-4458-8E1B-56933EB73962}">
      <dgm:prSet/>
      <dgm:spPr/>
      <dgm:t>
        <a:bodyPr/>
        <a:lstStyle/>
        <a:p>
          <a:endParaRPr lang="en-US"/>
        </a:p>
      </dgm:t>
    </dgm:pt>
    <dgm:pt modelId="{83C27E2A-6E7C-4B61-8376-E6B7CA14215D}" type="sibTrans" cxnId="{7475DE87-30B3-4458-8E1B-56933EB73962}">
      <dgm:prSet/>
      <dgm:spPr/>
      <dgm:t>
        <a:bodyPr/>
        <a:lstStyle/>
        <a:p>
          <a:endParaRPr lang="en-US"/>
        </a:p>
      </dgm:t>
    </dgm:pt>
    <dgm:pt modelId="{AAD3F055-AC89-416D-9700-A523C7270E43}">
      <dgm:prSet/>
      <dgm:spPr/>
      <dgm:t>
        <a:bodyPr/>
        <a:lstStyle/>
        <a:p>
          <a:r>
            <a:rPr lang="en-US" baseline="0"/>
            <a:t>To force the order of the joins to be executed as-written you can use OPTION(FORCE ORDER)</a:t>
          </a:r>
          <a:endParaRPr lang="en-US"/>
        </a:p>
      </dgm:t>
    </dgm:pt>
    <dgm:pt modelId="{D864F37A-9545-4AE0-B0ED-3EC1A0F2BF3D}" type="parTrans" cxnId="{B26728BC-635B-46AC-B7E8-BF3E8549AF51}">
      <dgm:prSet/>
      <dgm:spPr/>
      <dgm:t>
        <a:bodyPr/>
        <a:lstStyle/>
        <a:p>
          <a:endParaRPr lang="en-US"/>
        </a:p>
      </dgm:t>
    </dgm:pt>
    <dgm:pt modelId="{866A2BBF-F96E-4936-8955-481973E64C02}" type="sibTrans" cxnId="{B26728BC-635B-46AC-B7E8-BF3E8549AF51}">
      <dgm:prSet/>
      <dgm:spPr/>
      <dgm:t>
        <a:bodyPr/>
        <a:lstStyle/>
        <a:p>
          <a:endParaRPr lang="en-US"/>
        </a:p>
      </dgm:t>
    </dgm:pt>
    <dgm:pt modelId="{5C14AD30-A4DC-4192-9045-EA7CF057C38D}" type="pres">
      <dgm:prSet presAssocID="{71D2BB51-10EC-4D18-98E2-125ACA110EE8}" presName="Name0" presStyleCnt="0">
        <dgm:presLayoutVars>
          <dgm:dir/>
          <dgm:animLvl val="lvl"/>
          <dgm:resizeHandles val="exact"/>
        </dgm:presLayoutVars>
      </dgm:prSet>
      <dgm:spPr/>
    </dgm:pt>
    <dgm:pt modelId="{EBC513BC-5C2B-40D9-B8F0-B115A79F0883}" type="pres">
      <dgm:prSet presAssocID="{59564748-CA76-4C0D-98B8-333667F9ECE8}" presName="linNode" presStyleCnt="0"/>
      <dgm:spPr/>
    </dgm:pt>
    <dgm:pt modelId="{A5E658F7-8CBC-470E-ADE8-84A02B5B7E00}" type="pres">
      <dgm:prSet presAssocID="{59564748-CA76-4C0D-98B8-333667F9ECE8}" presName="parentText" presStyleLbl="node1" presStyleIdx="0" presStyleCnt="3">
        <dgm:presLayoutVars>
          <dgm:chMax val="1"/>
          <dgm:bulletEnabled val="1"/>
        </dgm:presLayoutVars>
      </dgm:prSet>
      <dgm:spPr/>
    </dgm:pt>
    <dgm:pt modelId="{6D8F9661-D331-48C8-A949-ABB1C724BBED}" type="pres">
      <dgm:prSet presAssocID="{59564748-CA76-4C0D-98B8-333667F9ECE8}" presName="descendantText" presStyleLbl="alignAccFollowNode1" presStyleIdx="0" presStyleCnt="3">
        <dgm:presLayoutVars>
          <dgm:bulletEnabled val="1"/>
        </dgm:presLayoutVars>
      </dgm:prSet>
      <dgm:spPr/>
    </dgm:pt>
    <dgm:pt modelId="{6E9337C2-7A7C-464D-94FF-A1449D2E6E38}" type="pres">
      <dgm:prSet presAssocID="{F54D8489-2DC2-435C-A0E4-4D959EF9B17F}" presName="sp" presStyleCnt="0"/>
      <dgm:spPr/>
    </dgm:pt>
    <dgm:pt modelId="{D88C9059-B882-4E9E-AA1E-7383547F524C}" type="pres">
      <dgm:prSet presAssocID="{61DCD067-C99B-4999-9376-550AE641DAA6}" presName="linNode" presStyleCnt="0"/>
      <dgm:spPr/>
    </dgm:pt>
    <dgm:pt modelId="{37A173B5-A8BD-4F5F-9E19-1DDABD244B03}" type="pres">
      <dgm:prSet presAssocID="{61DCD067-C99B-4999-9376-550AE641DAA6}" presName="parentText" presStyleLbl="node1" presStyleIdx="1" presStyleCnt="3">
        <dgm:presLayoutVars>
          <dgm:chMax val="1"/>
          <dgm:bulletEnabled val="1"/>
        </dgm:presLayoutVars>
      </dgm:prSet>
      <dgm:spPr/>
    </dgm:pt>
    <dgm:pt modelId="{5F2B5F79-625C-49A1-979B-C9E5997F39E6}" type="pres">
      <dgm:prSet presAssocID="{61DCD067-C99B-4999-9376-550AE641DAA6}" presName="descendantText" presStyleLbl="alignAccFollowNode1" presStyleIdx="1" presStyleCnt="3">
        <dgm:presLayoutVars>
          <dgm:bulletEnabled val="1"/>
        </dgm:presLayoutVars>
      </dgm:prSet>
      <dgm:spPr/>
    </dgm:pt>
    <dgm:pt modelId="{B4308EF1-0486-48F4-84B7-83EF887F7D66}" type="pres">
      <dgm:prSet presAssocID="{2B51D212-3D3F-460D-8E86-0DD94C7FBEF8}" presName="sp" presStyleCnt="0"/>
      <dgm:spPr/>
    </dgm:pt>
    <dgm:pt modelId="{B9C74BB8-3583-41FB-97E4-5B8CA03DD7E0}" type="pres">
      <dgm:prSet presAssocID="{50A06AEC-0CA7-42C3-93EA-3727CD7CA6EE}" presName="linNode" presStyleCnt="0"/>
      <dgm:spPr/>
    </dgm:pt>
    <dgm:pt modelId="{C7B831A1-9374-4843-907B-7FF454DB4A1D}" type="pres">
      <dgm:prSet presAssocID="{50A06AEC-0CA7-42C3-93EA-3727CD7CA6EE}" presName="parentText" presStyleLbl="node1" presStyleIdx="2" presStyleCnt="3">
        <dgm:presLayoutVars>
          <dgm:chMax val="1"/>
          <dgm:bulletEnabled val="1"/>
        </dgm:presLayoutVars>
      </dgm:prSet>
      <dgm:spPr/>
    </dgm:pt>
    <dgm:pt modelId="{C57EA26E-5DD0-433E-BB8B-E985F339C16B}" type="pres">
      <dgm:prSet presAssocID="{50A06AEC-0CA7-42C3-93EA-3727CD7CA6EE}" presName="descendantText" presStyleLbl="alignAccFollowNode1" presStyleIdx="2" presStyleCnt="3">
        <dgm:presLayoutVars>
          <dgm:bulletEnabled val="1"/>
        </dgm:presLayoutVars>
      </dgm:prSet>
      <dgm:spPr/>
    </dgm:pt>
  </dgm:ptLst>
  <dgm:cxnLst>
    <dgm:cxn modelId="{B399E438-AB75-42D6-A914-CA6FA2F28375}" type="presOf" srcId="{61DCD067-C99B-4999-9376-550AE641DAA6}" destId="{37A173B5-A8BD-4F5F-9E19-1DDABD244B03}" srcOrd="0" destOrd="0" presId="urn:microsoft.com/office/officeart/2005/8/layout/vList5"/>
    <dgm:cxn modelId="{E4F3D139-9012-4B81-A6BD-51362ABC807A}" srcId="{59564748-CA76-4C0D-98B8-333667F9ECE8}" destId="{20C010C7-D79E-4B7F-BA9D-B8B12D31C46D}" srcOrd="0" destOrd="0" parTransId="{F16E822B-5BFB-4FF5-85F7-E0150CCC36FA}" sibTransId="{A21E653B-AF7B-426A-952E-28F43F93D822}"/>
    <dgm:cxn modelId="{A7FD9D49-8F89-46EB-875C-A905A87944F3}" type="presOf" srcId="{AD3F48CC-CDCF-4D58-ABAE-3454F2A5B1CE}" destId="{C57EA26E-5DD0-433E-BB8B-E985F339C16B}" srcOrd="0" destOrd="0" presId="urn:microsoft.com/office/officeart/2005/8/layout/vList5"/>
    <dgm:cxn modelId="{AC03AC7D-86E4-4235-BD06-C9FD5F703673}" type="presOf" srcId="{50A06AEC-0CA7-42C3-93EA-3727CD7CA6EE}" destId="{C7B831A1-9374-4843-907B-7FF454DB4A1D}" srcOrd="0" destOrd="0" presId="urn:microsoft.com/office/officeart/2005/8/layout/vList5"/>
    <dgm:cxn modelId="{7475DE87-30B3-4458-8E1B-56933EB73962}" srcId="{50A06AEC-0CA7-42C3-93EA-3727CD7CA6EE}" destId="{AD3F48CC-CDCF-4D58-ABAE-3454F2A5B1CE}" srcOrd="0" destOrd="0" parTransId="{9B1346F5-2D57-4E1F-803F-3A5105BBE3B7}" sibTransId="{83C27E2A-6E7C-4B61-8376-E6B7CA14215D}"/>
    <dgm:cxn modelId="{18BEFE88-3A12-434D-BDAE-DB7816857520}" type="presOf" srcId="{71D2BB51-10EC-4D18-98E2-125ACA110EE8}" destId="{5C14AD30-A4DC-4192-9045-EA7CF057C38D}" srcOrd="0" destOrd="0" presId="urn:microsoft.com/office/officeart/2005/8/layout/vList5"/>
    <dgm:cxn modelId="{E6D3389A-015C-4081-AAFD-A9D44EBAE3F6}" srcId="{61DCD067-C99B-4999-9376-550AE641DAA6}" destId="{2B18B08D-4A7A-4867-8CD9-DEB64E2BFA62}" srcOrd="0" destOrd="0" parTransId="{CE4CCD25-6909-49DF-849E-EB0D62ACDD95}" sibTransId="{A9F3809E-FC18-4154-8BC5-9C1A7BB57916}"/>
    <dgm:cxn modelId="{F947419F-FD5A-4D2C-B4EE-050C42B835C7}" type="presOf" srcId="{59564748-CA76-4C0D-98B8-333667F9ECE8}" destId="{A5E658F7-8CBC-470E-ADE8-84A02B5B7E00}" srcOrd="0" destOrd="0" presId="urn:microsoft.com/office/officeart/2005/8/layout/vList5"/>
    <dgm:cxn modelId="{403AF59F-8C9E-4670-BC8C-5D18EB4B498F}" type="presOf" srcId="{AAD3F055-AC89-416D-9700-A523C7270E43}" destId="{C57EA26E-5DD0-433E-BB8B-E985F339C16B}" srcOrd="0" destOrd="1" presId="urn:microsoft.com/office/officeart/2005/8/layout/vList5"/>
    <dgm:cxn modelId="{6616FBAC-805C-405E-9D11-022F0C32CEAE}" srcId="{71D2BB51-10EC-4D18-98E2-125ACA110EE8}" destId="{59564748-CA76-4C0D-98B8-333667F9ECE8}" srcOrd="0" destOrd="0" parTransId="{ED01B025-A484-4861-96E0-BEF0C05DD8E0}" sibTransId="{F54D8489-2DC2-435C-A0E4-4D959EF9B17F}"/>
    <dgm:cxn modelId="{B26728BC-635B-46AC-B7E8-BF3E8549AF51}" srcId="{50A06AEC-0CA7-42C3-93EA-3727CD7CA6EE}" destId="{AAD3F055-AC89-416D-9700-A523C7270E43}" srcOrd="1" destOrd="0" parTransId="{D864F37A-9545-4AE0-B0ED-3EC1A0F2BF3D}" sibTransId="{866A2BBF-F96E-4936-8955-481973E64C02}"/>
    <dgm:cxn modelId="{7F85FCD4-F504-482C-BF53-640EB95EA9FD}" type="presOf" srcId="{2B18B08D-4A7A-4867-8CD9-DEB64E2BFA62}" destId="{5F2B5F79-625C-49A1-979B-C9E5997F39E6}" srcOrd="0" destOrd="0" presId="urn:microsoft.com/office/officeart/2005/8/layout/vList5"/>
    <dgm:cxn modelId="{9ACD97D5-FCCB-4D68-9DDB-FA3A44A7512D}" srcId="{71D2BB51-10EC-4D18-98E2-125ACA110EE8}" destId="{50A06AEC-0CA7-42C3-93EA-3727CD7CA6EE}" srcOrd="2" destOrd="0" parTransId="{18D82E12-7411-4811-B0E9-46539146BF2C}" sibTransId="{E0891625-2D8F-416B-AF9C-95AAF75ADD70}"/>
    <dgm:cxn modelId="{21CE8BDB-A2C6-4D74-B397-39B27E5F81FF}" srcId="{71D2BB51-10EC-4D18-98E2-125ACA110EE8}" destId="{61DCD067-C99B-4999-9376-550AE641DAA6}" srcOrd="1" destOrd="0" parTransId="{50A9F611-A53C-4CB3-AA97-3D03B6E0058D}" sibTransId="{2B51D212-3D3F-460D-8E86-0DD94C7FBEF8}"/>
    <dgm:cxn modelId="{9BCE35DE-F3EA-49B4-9F84-3C5A92AA8B8C}" type="presOf" srcId="{E41DF497-C0D9-43C0-ADF9-78DCA4E1517F}" destId="{6D8F9661-D331-48C8-A949-ABB1C724BBED}" srcOrd="0" destOrd="1" presId="urn:microsoft.com/office/officeart/2005/8/layout/vList5"/>
    <dgm:cxn modelId="{F7BC40E0-B7EB-4D9A-8E29-FF690F829341}" srcId="{59564748-CA76-4C0D-98B8-333667F9ECE8}" destId="{E41DF497-C0D9-43C0-ADF9-78DCA4E1517F}" srcOrd="1" destOrd="0" parTransId="{7A5CC5B7-907A-496D-AE99-0C410817E437}" sibTransId="{FCC4AE8C-7887-4860-B665-983CB8B0E3E6}"/>
    <dgm:cxn modelId="{31D940E8-BE58-427E-8DBB-2568D5B5A86E}" type="presOf" srcId="{20C010C7-D79E-4B7F-BA9D-B8B12D31C46D}" destId="{6D8F9661-D331-48C8-A949-ABB1C724BBED}" srcOrd="0" destOrd="0" presId="urn:microsoft.com/office/officeart/2005/8/layout/vList5"/>
    <dgm:cxn modelId="{8F993E28-B55D-4999-A2CA-B1696D3A257E}" type="presParOf" srcId="{5C14AD30-A4DC-4192-9045-EA7CF057C38D}" destId="{EBC513BC-5C2B-40D9-B8F0-B115A79F0883}" srcOrd="0" destOrd="0" presId="urn:microsoft.com/office/officeart/2005/8/layout/vList5"/>
    <dgm:cxn modelId="{65E02AFB-E38A-4BD2-9A54-9B45ACD9B9BC}" type="presParOf" srcId="{EBC513BC-5C2B-40D9-B8F0-B115A79F0883}" destId="{A5E658F7-8CBC-470E-ADE8-84A02B5B7E00}" srcOrd="0" destOrd="0" presId="urn:microsoft.com/office/officeart/2005/8/layout/vList5"/>
    <dgm:cxn modelId="{F1335D60-FDCF-41F2-A8C7-B2B4122C6C0A}" type="presParOf" srcId="{EBC513BC-5C2B-40D9-B8F0-B115A79F0883}" destId="{6D8F9661-D331-48C8-A949-ABB1C724BBED}" srcOrd="1" destOrd="0" presId="urn:microsoft.com/office/officeart/2005/8/layout/vList5"/>
    <dgm:cxn modelId="{BF67334E-A452-4C0F-AC4B-924577180540}" type="presParOf" srcId="{5C14AD30-A4DC-4192-9045-EA7CF057C38D}" destId="{6E9337C2-7A7C-464D-94FF-A1449D2E6E38}" srcOrd="1" destOrd="0" presId="urn:microsoft.com/office/officeart/2005/8/layout/vList5"/>
    <dgm:cxn modelId="{8AFB0136-011D-43FD-A073-B0B3262A7D31}" type="presParOf" srcId="{5C14AD30-A4DC-4192-9045-EA7CF057C38D}" destId="{D88C9059-B882-4E9E-AA1E-7383547F524C}" srcOrd="2" destOrd="0" presId="urn:microsoft.com/office/officeart/2005/8/layout/vList5"/>
    <dgm:cxn modelId="{CFE48E1E-D6FD-4428-9252-9C71958395C7}" type="presParOf" srcId="{D88C9059-B882-4E9E-AA1E-7383547F524C}" destId="{37A173B5-A8BD-4F5F-9E19-1DDABD244B03}" srcOrd="0" destOrd="0" presId="urn:microsoft.com/office/officeart/2005/8/layout/vList5"/>
    <dgm:cxn modelId="{91C6F40F-40DF-452B-9EEB-604422F1DEE4}" type="presParOf" srcId="{D88C9059-B882-4E9E-AA1E-7383547F524C}" destId="{5F2B5F79-625C-49A1-979B-C9E5997F39E6}" srcOrd="1" destOrd="0" presId="urn:microsoft.com/office/officeart/2005/8/layout/vList5"/>
    <dgm:cxn modelId="{B1986DA4-0955-4785-A27D-A5B3C0435B05}" type="presParOf" srcId="{5C14AD30-A4DC-4192-9045-EA7CF057C38D}" destId="{B4308EF1-0486-48F4-84B7-83EF887F7D66}" srcOrd="3" destOrd="0" presId="urn:microsoft.com/office/officeart/2005/8/layout/vList5"/>
    <dgm:cxn modelId="{2E4E24F7-1522-4EBA-A085-FD07D91CDCE1}" type="presParOf" srcId="{5C14AD30-A4DC-4192-9045-EA7CF057C38D}" destId="{B9C74BB8-3583-41FB-97E4-5B8CA03DD7E0}" srcOrd="4" destOrd="0" presId="urn:microsoft.com/office/officeart/2005/8/layout/vList5"/>
    <dgm:cxn modelId="{998DFE86-3C95-4A6B-827D-797BFDF8E6B2}" type="presParOf" srcId="{B9C74BB8-3583-41FB-97E4-5B8CA03DD7E0}" destId="{C7B831A1-9374-4843-907B-7FF454DB4A1D}" srcOrd="0" destOrd="0" presId="urn:microsoft.com/office/officeart/2005/8/layout/vList5"/>
    <dgm:cxn modelId="{1249D386-B08C-4781-B59D-4510E21862F3}" type="presParOf" srcId="{B9C74BB8-3583-41FB-97E4-5B8CA03DD7E0}" destId="{C57EA26E-5DD0-433E-BB8B-E985F339C16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F4F205B-FD77-4D90-9216-F50B907A843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F4FF03E-2EA5-410E-B345-7AD60516E784}">
      <dgm:prSet/>
      <dgm:spPr/>
      <dgm:t>
        <a:bodyPr/>
        <a:lstStyle/>
        <a:p>
          <a:r>
            <a:rPr lang="en-US" baseline="0" dirty="0"/>
            <a:t>Repeated subqueries should be rewritten as a single temp table</a:t>
          </a:r>
          <a:endParaRPr lang="en-US" dirty="0"/>
        </a:p>
      </dgm:t>
    </dgm:pt>
    <dgm:pt modelId="{22328CEC-A414-4F45-BA10-6511340D7B7A}" type="parTrans" cxnId="{CA999389-078F-46A4-AAA7-BB049643F9BB}">
      <dgm:prSet/>
      <dgm:spPr/>
      <dgm:t>
        <a:bodyPr/>
        <a:lstStyle/>
        <a:p>
          <a:endParaRPr lang="en-US"/>
        </a:p>
      </dgm:t>
    </dgm:pt>
    <dgm:pt modelId="{51B90B5E-D0D2-4629-A81B-35E5AB9E8C31}" type="sibTrans" cxnId="{CA999389-078F-46A4-AAA7-BB049643F9BB}">
      <dgm:prSet/>
      <dgm:spPr/>
      <dgm:t>
        <a:bodyPr/>
        <a:lstStyle/>
        <a:p>
          <a:endParaRPr lang="en-US"/>
        </a:p>
      </dgm:t>
    </dgm:pt>
    <dgm:pt modelId="{19C278C9-55B9-4DA9-BE67-38A562281CCC}">
      <dgm:prSet/>
      <dgm:spPr/>
      <dgm:t>
        <a:bodyPr/>
        <a:lstStyle/>
        <a:p>
          <a:r>
            <a:rPr lang="en-US" baseline="0"/>
            <a:t>Break up large queries </a:t>
          </a:r>
          <a:endParaRPr lang="en-US"/>
        </a:p>
      </dgm:t>
    </dgm:pt>
    <dgm:pt modelId="{5EF0D7DB-8E41-42B8-AD2D-219135A0732F}" type="parTrans" cxnId="{8494AB77-32A6-4041-A01A-38B7ED036313}">
      <dgm:prSet/>
      <dgm:spPr/>
      <dgm:t>
        <a:bodyPr/>
        <a:lstStyle/>
        <a:p>
          <a:endParaRPr lang="en-US"/>
        </a:p>
      </dgm:t>
    </dgm:pt>
    <dgm:pt modelId="{95B47BD3-4470-4B1B-928C-6E4A19F7D3C0}" type="sibTrans" cxnId="{8494AB77-32A6-4041-A01A-38B7ED036313}">
      <dgm:prSet/>
      <dgm:spPr/>
      <dgm:t>
        <a:bodyPr/>
        <a:lstStyle/>
        <a:p>
          <a:endParaRPr lang="en-US"/>
        </a:p>
      </dgm:t>
    </dgm:pt>
    <dgm:pt modelId="{A6510E7B-4155-4E15-A529-01441A74F926}">
      <dgm:prSet/>
      <dgm:spPr/>
      <dgm:t>
        <a:bodyPr/>
        <a:lstStyle/>
        <a:p>
          <a:r>
            <a:rPr lang="en-US" baseline="0"/>
            <a:t>Complex queries can sometimes take hundreds of query steps to solve</a:t>
          </a:r>
          <a:endParaRPr lang="en-US"/>
        </a:p>
      </dgm:t>
    </dgm:pt>
    <dgm:pt modelId="{EE1F1A69-BEEB-4000-9EED-AACC815F382B}" type="parTrans" cxnId="{827E8F25-6F06-445F-B71F-1DAF4A429C9A}">
      <dgm:prSet/>
      <dgm:spPr/>
      <dgm:t>
        <a:bodyPr/>
        <a:lstStyle/>
        <a:p>
          <a:endParaRPr lang="en-US"/>
        </a:p>
      </dgm:t>
    </dgm:pt>
    <dgm:pt modelId="{88F99145-9818-4BDF-A57D-2882BD7A9850}" type="sibTrans" cxnId="{827E8F25-6F06-445F-B71F-1DAF4A429C9A}">
      <dgm:prSet/>
      <dgm:spPr/>
      <dgm:t>
        <a:bodyPr/>
        <a:lstStyle/>
        <a:p>
          <a:endParaRPr lang="en-US"/>
        </a:p>
      </dgm:t>
    </dgm:pt>
    <dgm:pt modelId="{2D5CD923-BCCC-4545-A2F8-B9820343CA4D}">
      <dgm:prSet/>
      <dgm:spPr/>
      <dgm:t>
        <a:bodyPr/>
        <a:lstStyle/>
        <a:p>
          <a:r>
            <a:rPr lang="en-US" baseline="0" dirty="0"/>
            <a:t>Smaller units of work require less memory and can be more accurately estimated</a:t>
          </a:r>
          <a:endParaRPr lang="en-US" dirty="0"/>
        </a:p>
      </dgm:t>
    </dgm:pt>
    <dgm:pt modelId="{45A862CB-9DB1-4D7B-AC40-82F2BB31CC55}" type="parTrans" cxnId="{BF4C3B51-69F0-4D42-BCE7-5236074DFD55}">
      <dgm:prSet/>
      <dgm:spPr/>
      <dgm:t>
        <a:bodyPr/>
        <a:lstStyle/>
        <a:p>
          <a:endParaRPr lang="en-US"/>
        </a:p>
      </dgm:t>
    </dgm:pt>
    <dgm:pt modelId="{122EF3D7-1012-4775-B6DA-607DE66D9789}" type="sibTrans" cxnId="{BF4C3B51-69F0-4D42-BCE7-5236074DFD55}">
      <dgm:prSet/>
      <dgm:spPr/>
      <dgm:t>
        <a:bodyPr/>
        <a:lstStyle/>
        <a:p>
          <a:endParaRPr lang="en-US"/>
        </a:p>
      </dgm:t>
    </dgm:pt>
    <dgm:pt modelId="{F5BD2127-514F-4881-9B59-806744ABF66F}">
      <dgm:prSet/>
      <dgm:spPr/>
      <dgm:t>
        <a:bodyPr/>
        <a:lstStyle/>
        <a:p>
          <a:r>
            <a:rPr lang="en-US" baseline="0"/>
            <a:t>Smaller less complicated plans are easier to read and evaluate</a:t>
          </a:r>
          <a:endParaRPr lang="en-US"/>
        </a:p>
      </dgm:t>
    </dgm:pt>
    <dgm:pt modelId="{FB0C3933-34D1-4C01-89AF-D134216F9AD6}" type="parTrans" cxnId="{0B48DB77-916B-43DF-9D08-E4E14570BE07}">
      <dgm:prSet/>
      <dgm:spPr/>
      <dgm:t>
        <a:bodyPr/>
        <a:lstStyle/>
        <a:p>
          <a:endParaRPr lang="en-US"/>
        </a:p>
      </dgm:t>
    </dgm:pt>
    <dgm:pt modelId="{D24B69B1-8349-462B-AEEF-2E64915F9BDC}" type="sibTrans" cxnId="{0B48DB77-916B-43DF-9D08-E4E14570BE07}">
      <dgm:prSet/>
      <dgm:spPr/>
      <dgm:t>
        <a:bodyPr/>
        <a:lstStyle/>
        <a:p>
          <a:endParaRPr lang="en-US"/>
        </a:p>
      </dgm:t>
    </dgm:pt>
    <dgm:pt modelId="{F6929D4F-F574-4F79-8466-163658E5E58E}">
      <dgm:prSet/>
      <dgm:spPr/>
      <dgm:t>
        <a:bodyPr/>
        <a:lstStyle/>
        <a:p>
          <a:r>
            <a:rPr lang="en-US" baseline="0"/>
            <a:t>Since views are essentially just query text that is inserted to the query inline, selecting from complex views would also be considered a “large” query</a:t>
          </a:r>
          <a:endParaRPr lang="en-US"/>
        </a:p>
      </dgm:t>
    </dgm:pt>
    <dgm:pt modelId="{F61AEA69-0EED-4E76-89D6-BFF571CAAFBA}" type="parTrans" cxnId="{38E02FBF-82FB-4AC0-B2FC-274CA4B72B9B}">
      <dgm:prSet/>
      <dgm:spPr/>
      <dgm:t>
        <a:bodyPr/>
        <a:lstStyle/>
        <a:p>
          <a:endParaRPr lang="en-US"/>
        </a:p>
      </dgm:t>
    </dgm:pt>
    <dgm:pt modelId="{A44E74AB-AB8B-424A-8205-E952E4C8422B}" type="sibTrans" cxnId="{38E02FBF-82FB-4AC0-B2FC-274CA4B72B9B}">
      <dgm:prSet/>
      <dgm:spPr/>
      <dgm:t>
        <a:bodyPr/>
        <a:lstStyle/>
        <a:p>
          <a:endParaRPr lang="en-US"/>
        </a:p>
      </dgm:t>
    </dgm:pt>
    <dgm:pt modelId="{D015ACD0-B0B6-4A84-8379-6C4DCEC92C10}">
      <dgm:prSet/>
      <dgm:spPr/>
      <dgm:t>
        <a:bodyPr/>
        <a:lstStyle/>
        <a:p>
          <a:r>
            <a:rPr lang="en-US" dirty="0"/>
            <a:t>Single execution of the subquery</a:t>
          </a:r>
        </a:p>
      </dgm:t>
    </dgm:pt>
    <dgm:pt modelId="{48441CC3-5747-44B9-98E5-66A2E2C18CE0}" type="parTrans" cxnId="{6F031426-967E-493B-ACF4-6FB9D6BD2FD8}">
      <dgm:prSet/>
      <dgm:spPr/>
    </dgm:pt>
    <dgm:pt modelId="{9D0FAAB9-5053-4249-806F-BE0439B2A4E7}" type="sibTrans" cxnId="{6F031426-967E-493B-ACF4-6FB9D6BD2FD8}">
      <dgm:prSet/>
      <dgm:spPr/>
    </dgm:pt>
    <dgm:pt modelId="{D0BE2DCA-27D1-4384-B86C-79B1203A84A4}">
      <dgm:prSet/>
      <dgm:spPr/>
      <dgm:t>
        <a:bodyPr/>
        <a:lstStyle/>
        <a:p>
          <a:r>
            <a:rPr lang="en-US" dirty="0"/>
            <a:t>TempDB is on local </a:t>
          </a:r>
          <a:r>
            <a:rPr lang="en-US" dirty="0" err="1"/>
            <a:t>NVMe</a:t>
          </a:r>
          <a:r>
            <a:rPr lang="en-US" dirty="0"/>
            <a:t> storage – much faster than regular table storage</a:t>
          </a:r>
        </a:p>
      </dgm:t>
    </dgm:pt>
    <dgm:pt modelId="{99419B24-C241-440E-9E56-22DAA49955F3}" type="parTrans" cxnId="{D1035240-8730-4131-8B4F-094D3EBC37E6}">
      <dgm:prSet/>
      <dgm:spPr/>
    </dgm:pt>
    <dgm:pt modelId="{5DC136DF-31B1-4E53-822E-4F95D76B642A}" type="sibTrans" cxnId="{D1035240-8730-4131-8B4F-094D3EBC37E6}">
      <dgm:prSet/>
      <dgm:spPr/>
    </dgm:pt>
    <dgm:pt modelId="{9A656EFC-9E48-4D77-A1C3-5375038B5BBA}" type="pres">
      <dgm:prSet presAssocID="{EF4F205B-FD77-4D90-9216-F50B907A8437}" presName="linear" presStyleCnt="0">
        <dgm:presLayoutVars>
          <dgm:animLvl val="lvl"/>
          <dgm:resizeHandles val="exact"/>
        </dgm:presLayoutVars>
      </dgm:prSet>
      <dgm:spPr/>
    </dgm:pt>
    <dgm:pt modelId="{73A1BB68-6CCF-4263-9161-E8A95526FC6C}" type="pres">
      <dgm:prSet presAssocID="{BF4FF03E-2EA5-410E-B345-7AD60516E784}" presName="parentText" presStyleLbl="node1" presStyleIdx="0" presStyleCnt="2">
        <dgm:presLayoutVars>
          <dgm:chMax val="0"/>
          <dgm:bulletEnabled val="1"/>
        </dgm:presLayoutVars>
      </dgm:prSet>
      <dgm:spPr/>
    </dgm:pt>
    <dgm:pt modelId="{20FE4E50-1BF2-4F84-878E-E77298D22543}" type="pres">
      <dgm:prSet presAssocID="{BF4FF03E-2EA5-410E-B345-7AD60516E784}" presName="childText" presStyleLbl="revTx" presStyleIdx="0" presStyleCnt="2">
        <dgm:presLayoutVars>
          <dgm:bulletEnabled val="1"/>
        </dgm:presLayoutVars>
      </dgm:prSet>
      <dgm:spPr/>
    </dgm:pt>
    <dgm:pt modelId="{CCA07193-F318-4E8F-8FDD-54157A453A5A}" type="pres">
      <dgm:prSet presAssocID="{19C278C9-55B9-4DA9-BE67-38A562281CCC}" presName="parentText" presStyleLbl="node1" presStyleIdx="1" presStyleCnt="2">
        <dgm:presLayoutVars>
          <dgm:chMax val="0"/>
          <dgm:bulletEnabled val="1"/>
        </dgm:presLayoutVars>
      </dgm:prSet>
      <dgm:spPr/>
    </dgm:pt>
    <dgm:pt modelId="{BFC810B7-C653-45E1-B57E-167D8681A241}" type="pres">
      <dgm:prSet presAssocID="{19C278C9-55B9-4DA9-BE67-38A562281CCC}" presName="childText" presStyleLbl="revTx" presStyleIdx="1" presStyleCnt="2">
        <dgm:presLayoutVars>
          <dgm:bulletEnabled val="1"/>
        </dgm:presLayoutVars>
      </dgm:prSet>
      <dgm:spPr/>
    </dgm:pt>
  </dgm:ptLst>
  <dgm:cxnLst>
    <dgm:cxn modelId="{E015630A-6D87-4F55-A933-0F863181EED6}" type="presOf" srcId="{F6929D4F-F574-4F79-8466-163658E5E58E}" destId="{BFC810B7-C653-45E1-B57E-167D8681A241}" srcOrd="0" destOrd="3" presId="urn:microsoft.com/office/officeart/2005/8/layout/vList2"/>
    <dgm:cxn modelId="{DEDE1C1B-155F-46BC-9F6D-46EC2D292E44}" type="presOf" srcId="{A6510E7B-4155-4E15-A529-01441A74F926}" destId="{BFC810B7-C653-45E1-B57E-167D8681A241}" srcOrd="0" destOrd="0" presId="urn:microsoft.com/office/officeart/2005/8/layout/vList2"/>
    <dgm:cxn modelId="{827E8F25-6F06-445F-B71F-1DAF4A429C9A}" srcId="{19C278C9-55B9-4DA9-BE67-38A562281CCC}" destId="{A6510E7B-4155-4E15-A529-01441A74F926}" srcOrd="0" destOrd="0" parTransId="{EE1F1A69-BEEB-4000-9EED-AACC815F382B}" sibTransId="{88F99145-9818-4BDF-A57D-2882BD7A9850}"/>
    <dgm:cxn modelId="{6F031426-967E-493B-ACF4-6FB9D6BD2FD8}" srcId="{BF4FF03E-2EA5-410E-B345-7AD60516E784}" destId="{D015ACD0-B0B6-4A84-8379-6C4DCEC92C10}" srcOrd="0" destOrd="0" parTransId="{48441CC3-5747-44B9-98E5-66A2E2C18CE0}" sibTransId="{9D0FAAB9-5053-4249-806F-BE0439B2A4E7}"/>
    <dgm:cxn modelId="{AE279E3E-E3B4-44D0-8E7C-F0DB66D541D7}" type="presOf" srcId="{2D5CD923-BCCC-4545-A2F8-B9820343CA4D}" destId="{BFC810B7-C653-45E1-B57E-167D8681A241}" srcOrd="0" destOrd="1" presId="urn:microsoft.com/office/officeart/2005/8/layout/vList2"/>
    <dgm:cxn modelId="{D1035240-8730-4131-8B4F-094D3EBC37E6}" srcId="{BF4FF03E-2EA5-410E-B345-7AD60516E784}" destId="{D0BE2DCA-27D1-4384-B86C-79B1203A84A4}" srcOrd="1" destOrd="0" parTransId="{99419B24-C241-440E-9E56-22DAA49955F3}" sibTransId="{5DC136DF-31B1-4E53-822E-4F95D76B642A}"/>
    <dgm:cxn modelId="{47BBB549-09F7-45AD-A27D-39AB1C5B2548}" type="presOf" srcId="{D015ACD0-B0B6-4A84-8379-6C4DCEC92C10}" destId="{20FE4E50-1BF2-4F84-878E-E77298D22543}" srcOrd="0" destOrd="0" presId="urn:microsoft.com/office/officeart/2005/8/layout/vList2"/>
    <dgm:cxn modelId="{3E6E3C6D-89EC-48E7-8308-F5F3045679F4}" type="presOf" srcId="{19C278C9-55B9-4DA9-BE67-38A562281CCC}" destId="{CCA07193-F318-4E8F-8FDD-54157A453A5A}" srcOrd="0" destOrd="0" presId="urn:microsoft.com/office/officeart/2005/8/layout/vList2"/>
    <dgm:cxn modelId="{DEB84770-B2BC-4CF8-9FC0-C62D01E9CA89}" type="presOf" srcId="{D0BE2DCA-27D1-4384-B86C-79B1203A84A4}" destId="{20FE4E50-1BF2-4F84-878E-E77298D22543}" srcOrd="0" destOrd="1" presId="urn:microsoft.com/office/officeart/2005/8/layout/vList2"/>
    <dgm:cxn modelId="{BF4C3B51-69F0-4D42-BCE7-5236074DFD55}" srcId="{19C278C9-55B9-4DA9-BE67-38A562281CCC}" destId="{2D5CD923-BCCC-4545-A2F8-B9820343CA4D}" srcOrd="1" destOrd="0" parTransId="{45A862CB-9DB1-4D7B-AC40-82F2BB31CC55}" sibTransId="{122EF3D7-1012-4775-B6DA-607DE66D9789}"/>
    <dgm:cxn modelId="{8494AB77-32A6-4041-A01A-38B7ED036313}" srcId="{EF4F205B-FD77-4D90-9216-F50B907A8437}" destId="{19C278C9-55B9-4DA9-BE67-38A562281CCC}" srcOrd="1" destOrd="0" parTransId="{5EF0D7DB-8E41-42B8-AD2D-219135A0732F}" sibTransId="{95B47BD3-4470-4B1B-928C-6E4A19F7D3C0}"/>
    <dgm:cxn modelId="{0B48DB77-916B-43DF-9D08-E4E14570BE07}" srcId="{19C278C9-55B9-4DA9-BE67-38A562281CCC}" destId="{F5BD2127-514F-4881-9B59-806744ABF66F}" srcOrd="2" destOrd="0" parTransId="{FB0C3933-34D1-4C01-89AF-D134216F9AD6}" sibTransId="{D24B69B1-8349-462B-AEEF-2E64915F9BDC}"/>
    <dgm:cxn modelId="{CA999389-078F-46A4-AAA7-BB049643F9BB}" srcId="{EF4F205B-FD77-4D90-9216-F50B907A8437}" destId="{BF4FF03E-2EA5-410E-B345-7AD60516E784}" srcOrd="0" destOrd="0" parTransId="{22328CEC-A414-4F45-BA10-6511340D7B7A}" sibTransId="{51B90B5E-D0D2-4629-A81B-35E5AB9E8C31}"/>
    <dgm:cxn modelId="{38E02FBF-82FB-4AC0-B2FC-274CA4B72B9B}" srcId="{19C278C9-55B9-4DA9-BE67-38A562281CCC}" destId="{F6929D4F-F574-4F79-8466-163658E5E58E}" srcOrd="3" destOrd="0" parTransId="{F61AEA69-0EED-4E76-89D6-BFF571CAAFBA}" sibTransId="{A44E74AB-AB8B-424A-8205-E952E4C8422B}"/>
    <dgm:cxn modelId="{D183D2BF-AB1D-401B-83C0-27F762167E88}" type="presOf" srcId="{F5BD2127-514F-4881-9B59-806744ABF66F}" destId="{BFC810B7-C653-45E1-B57E-167D8681A241}" srcOrd="0" destOrd="2" presId="urn:microsoft.com/office/officeart/2005/8/layout/vList2"/>
    <dgm:cxn modelId="{915CC7C2-FDD2-42F7-B875-CCECA05A9789}" type="presOf" srcId="{EF4F205B-FD77-4D90-9216-F50B907A8437}" destId="{9A656EFC-9E48-4D77-A1C3-5375038B5BBA}" srcOrd="0" destOrd="0" presId="urn:microsoft.com/office/officeart/2005/8/layout/vList2"/>
    <dgm:cxn modelId="{89B086ED-4763-4F6D-89FF-654C50086721}" type="presOf" srcId="{BF4FF03E-2EA5-410E-B345-7AD60516E784}" destId="{73A1BB68-6CCF-4263-9161-E8A95526FC6C}" srcOrd="0" destOrd="0" presId="urn:microsoft.com/office/officeart/2005/8/layout/vList2"/>
    <dgm:cxn modelId="{41E6365C-0BA5-4AA9-956B-2DCFD5CA2B92}" type="presParOf" srcId="{9A656EFC-9E48-4D77-A1C3-5375038B5BBA}" destId="{73A1BB68-6CCF-4263-9161-E8A95526FC6C}" srcOrd="0" destOrd="0" presId="urn:microsoft.com/office/officeart/2005/8/layout/vList2"/>
    <dgm:cxn modelId="{83E484FF-B93D-49BE-9F79-CE09050537A9}" type="presParOf" srcId="{9A656EFC-9E48-4D77-A1C3-5375038B5BBA}" destId="{20FE4E50-1BF2-4F84-878E-E77298D22543}" srcOrd="1" destOrd="0" presId="urn:microsoft.com/office/officeart/2005/8/layout/vList2"/>
    <dgm:cxn modelId="{56E31182-A0C4-4BDB-9CEC-B16AA2DF596C}" type="presParOf" srcId="{9A656EFC-9E48-4D77-A1C3-5375038B5BBA}" destId="{CCA07193-F318-4E8F-8FDD-54157A453A5A}" srcOrd="2" destOrd="0" presId="urn:microsoft.com/office/officeart/2005/8/layout/vList2"/>
    <dgm:cxn modelId="{0B9BF9CF-6079-4DB3-8F42-E8671A2373FD}" type="presParOf" srcId="{9A656EFC-9E48-4D77-A1C3-5375038B5BBA}" destId="{BFC810B7-C653-45E1-B57E-167D8681A241}"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77E29703-7A30-4B56-9A89-189317BD407A}" type="doc">
      <dgm:prSet loTypeId="urn:microsoft.com/office/officeart/2005/8/layout/hList1" loCatId="list" qsTypeId="urn:microsoft.com/office/officeart/2005/8/quickstyle/simple1" qsCatId="simple" csTypeId="urn:microsoft.com/office/officeart/2005/8/colors/accent1_2" csCatId="accent1"/>
      <dgm:spPr/>
      <dgm:t>
        <a:bodyPr/>
        <a:lstStyle/>
        <a:p>
          <a:endParaRPr lang="en-US"/>
        </a:p>
      </dgm:t>
    </dgm:pt>
    <dgm:pt modelId="{77F50300-6206-4D03-A012-0B3044198BB9}">
      <dgm:prSet/>
      <dgm:spPr/>
      <dgm:t>
        <a:bodyPr/>
        <a:lstStyle/>
        <a:p>
          <a:r>
            <a:rPr lang="en-US" baseline="0"/>
            <a:t>Queries with all these patterns typically run faster with ordered CCI.</a:t>
          </a:r>
          <a:endParaRPr lang="en-US"/>
        </a:p>
      </dgm:t>
    </dgm:pt>
    <dgm:pt modelId="{7CC210BD-4DEB-494F-9F9B-48D9E83C9BB0}" type="parTrans" cxnId="{51796993-0FED-4BB8-A879-26E5EDB54720}">
      <dgm:prSet/>
      <dgm:spPr/>
      <dgm:t>
        <a:bodyPr/>
        <a:lstStyle/>
        <a:p>
          <a:endParaRPr lang="en-US"/>
        </a:p>
      </dgm:t>
    </dgm:pt>
    <dgm:pt modelId="{AC115782-702C-4DDB-8651-4D05C2A85A08}" type="sibTrans" cxnId="{51796993-0FED-4BB8-A879-26E5EDB54720}">
      <dgm:prSet/>
      <dgm:spPr/>
      <dgm:t>
        <a:bodyPr/>
        <a:lstStyle/>
        <a:p>
          <a:endParaRPr lang="en-US"/>
        </a:p>
      </dgm:t>
    </dgm:pt>
    <dgm:pt modelId="{A00D16AA-7971-4644-9309-081E2D247A11}">
      <dgm:prSet/>
      <dgm:spPr/>
      <dgm:t>
        <a:bodyPr/>
        <a:lstStyle/>
        <a:p>
          <a:r>
            <a:rPr lang="en-US" baseline="0"/>
            <a:t>The queries have equality, inequality, or range predicates</a:t>
          </a:r>
          <a:endParaRPr lang="en-US"/>
        </a:p>
      </dgm:t>
    </dgm:pt>
    <dgm:pt modelId="{04BE5A91-D0DC-4BB9-88A4-068F15F2B076}" type="parTrans" cxnId="{F7187D28-7274-4381-A42C-EB3602A6BEC5}">
      <dgm:prSet/>
      <dgm:spPr/>
      <dgm:t>
        <a:bodyPr/>
        <a:lstStyle/>
        <a:p>
          <a:endParaRPr lang="en-US"/>
        </a:p>
      </dgm:t>
    </dgm:pt>
    <dgm:pt modelId="{0A9AFA72-AA41-48DC-9EC0-7B65BD64D577}" type="sibTrans" cxnId="{F7187D28-7274-4381-A42C-EB3602A6BEC5}">
      <dgm:prSet/>
      <dgm:spPr/>
      <dgm:t>
        <a:bodyPr/>
        <a:lstStyle/>
        <a:p>
          <a:endParaRPr lang="en-US"/>
        </a:p>
      </dgm:t>
    </dgm:pt>
    <dgm:pt modelId="{36A4DCE7-F5E6-469F-907C-265230169FF0}">
      <dgm:prSet/>
      <dgm:spPr/>
      <dgm:t>
        <a:bodyPr/>
        <a:lstStyle/>
        <a:p>
          <a:r>
            <a:rPr lang="en-US" baseline="0"/>
            <a:t>The predicate columns and the ordered CCI columns are the same.</a:t>
          </a:r>
          <a:endParaRPr lang="en-US"/>
        </a:p>
      </dgm:t>
    </dgm:pt>
    <dgm:pt modelId="{DA451651-208F-4A25-982D-A6A5325562CD}" type="parTrans" cxnId="{05ABA110-0A8C-4427-9EFB-97A098A9C235}">
      <dgm:prSet/>
      <dgm:spPr/>
      <dgm:t>
        <a:bodyPr/>
        <a:lstStyle/>
        <a:p>
          <a:endParaRPr lang="en-US"/>
        </a:p>
      </dgm:t>
    </dgm:pt>
    <dgm:pt modelId="{FA10A08E-09A7-42FC-BFD8-46E2BE74C051}" type="sibTrans" cxnId="{05ABA110-0A8C-4427-9EFB-97A098A9C235}">
      <dgm:prSet/>
      <dgm:spPr/>
      <dgm:t>
        <a:bodyPr/>
        <a:lstStyle/>
        <a:p>
          <a:endParaRPr lang="en-US"/>
        </a:p>
      </dgm:t>
    </dgm:pt>
    <dgm:pt modelId="{72AA6941-387D-497D-B0BC-6768BBEC4C58}">
      <dgm:prSet/>
      <dgm:spPr/>
      <dgm:t>
        <a:bodyPr/>
        <a:lstStyle/>
        <a:p>
          <a:r>
            <a:rPr lang="en-US" baseline="0" dirty="0"/>
            <a:t>The predicate columns are used in the same order as the column ordinal of ordered CCI columns.</a:t>
          </a:r>
          <a:endParaRPr lang="en-US" dirty="0"/>
        </a:p>
      </dgm:t>
    </dgm:pt>
    <dgm:pt modelId="{F643B9C8-1240-4D4F-B851-2A0E31F7BA0B}" type="parTrans" cxnId="{03EC6CEA-0FF6-4679-B2A5-18AFD46D3F9E}">
      <dgm:prSet/>
      <dgm:spPr/>
      <dgm:t>
        <a:bodyPr/>
        <a:lstStyle/>
        <a:p>
          <a:endParaRPr lang="en-US"/>
        </a:p>
      </dgm:t>
    </dgm:pt>
    <dgm:pt modelId="{E59E2B39-E48E-4720-AD07-92993A3C4EDE}" type="sibTrans" cxnId="{03EC6CEA-0FF6-4679-B2A5-18AFD46D3F9E}">
      <dgm:prSet/>
      <dgm:spPr/>
      <dgm:t>
        <a:bodyPr/>
        <a:lstStyle/>
        <a:p>
          <a:endParaRPr lang="en-US"/>
        </a:p>
      </dgm:t>
    </dgm:pt>
    <dgm:pt modelId="{3CE5891E-AB61-4D41-B935-A958FF13664F}" type="pres">
      <dgm:prSet presAssocID="{77E29703-7A30-4B56-9A89-189317BD407A}" presName="Name0" presStyleCnt="0">
        <dgm:presLayoutVars>
          <dgm:dir/>
          <dgm:animLvl val="lvl"/>
          <dgm:resizeHandles val="exact"/>
        </dgm:presLayoutVars>
      </dgm:prSet>
      <dgm:spPr/>
    </dgm:pt>
    <dgm:pt modelId="{C56EE3A8-75BA-4587-B36D-8FDFCC1334AD}" type="pres">
      <dgm:prSet presAssocID="{77F50300-6206-4D03-A012-0B3044198BB9}" presName="composite" presStyleCnt="0"/>
      <dgm:spPr/>
    </dgm:pt>
    <dgm:pt modelId="{CCF10B6E-CFEE-4BC8-A60E-DBFD284D8A79}" type="pres">
      <dgm:prSet presAssocID="{77F50300-6206-4D03-A012-0B3044198BB9}" presName="parTx" presStyleLbl="alignNode1" presStyleIdx="0" presStyleCnt="1">
        <dgm:presLayoutVars>
          <dgm:chMax val="0"/>
          <dgm:chPref val="0"/>
          <dgm:bulletEnabled val="1"/>
        </dgm:presLayoutVars>
      </dgm:prSet>
      <dgm:spPr/>
    </dgm:pt>
    <dgm:pt modelId="{38C66E7A-F90C-4FBF-A6CA-E6F4CF5BB55D}" type="pres">
      <dgm:prSet presAssocID="{77F50300-6206-4D03-A012-0B3044198BB9}" presName="desTx" presStyleLbl="alignAccFollowNode1" presStyleIdx="0" presStyleCnt="1">
        <dgm:presLayoutVars>
          <dgm:bulletEnabled val="1"/>
        </dgm:presLayoutVars>
      </dgm:prSet>
      <dgm:spPr/>
    </dgm:pt>
  </dgm:ptLst>
  <dgm:cxnLst>
    <dgm:cxn modelId="{05ABA110-0A8C-4427-9EFB-97A098A9C235}" srcId="{77F50300-6206-4D03-A012-0B3044198BB9}" destId="{36A4DCE7-F5E6-469F-907C-265230169FF0}" srcOrd="1" destOrd="0" parTransId="{DA451651-208F-4A25-982D-A6A5325562CD}" sibTransId="{FA10A08E-09A7-42FC-BFD8-46E2BE74C051}"/>
    <dgm:cxn modelId="{F7187D28-7274-4381-A42C-EB3602A6BEC5}" srcId="{77F50300-6206-4D03-A012-0B3044198BB9}" destId="{A00D16AA-7971-4644-9309-081E2D247A11}" srcOrd="0" destOrd="0" parTransId="{04BE5A91-D0DC-4BB9-88A4-068F15F2B076}" sibTransId="{0A9AFA72-AA41-48DC-9EC0-7B65BD64D577}"/>
    <dgm:cxn modelId="{C0D33630-9607-40AE-9DD5-5D4F34496FCA}" type="presOf" srcId="{77F50300-6206-4D03-A012-0B3044198BB9}" destId="{CCF10B6E-CFEE-4BC8-A60E-DBFD284D8A79}" srcOrd="0" destOrd="0" presId="urn:microsoft.com/office/officeart/2005/8/layout/hList1"/>
    <dgm:cxn modelId="{0FD5555E-B3FD-4C33-9BDD-80D78730AE0A}" type="presOf" srcId="{77E29703-7A30-4B56-9A89-189317BD407A}" destId="{3CE5891E-AB61-4D41-B935-A958FF13664F}" srcOrd="0" destOrd="0" presId="urn:microsoft.com/office/officeart/2005/8/layout/hList1"/>
    <dgm:cxn modelId="{6C5B955A-CFFF-4516-A59B-2B4E3A6489AD}" type="presOf" srcId="{A00D16AA-7971-4644-9309-081E2D247A11}" destId="{38C66E7A-F90C-4FBF-A6CA-E6F4CF5BB55D}" srcOrd="0" destOrd="0" presId="urn:microsoft.com/office/officeart/2005/8/layout/hList1"/>
    <dgm:cxn modelId="{7B57B05A-3491-4CF4-AB07-6CCEE4841ACA}" type="presOf" srcId="{36A4DCE7-F5E6-469F-907C-265230169FF0}" destId="{38C66E7A-F90C-4FBF-A6CA-E6F4CF5BB55D}" srcOrd="0" destOrd="1" presId="urn:microsoft.com/office/officeart/2005/8/layout/hList1"/>
    <dgm:cxn modelId="{51796993-0FED-4BB8-A879-26E5EDB54720}" srcId="{77E29703-7A30-4B56-9A89-189317BD407A}" destId="{77F50300-6206-4D03-A012-0B3044198BB9}" srcOrd="0" destOrd="0" parTransId="{7CC210BD-4DEB-494F-9F9B-48D9E83C9BB0}" sibTransId="{AC115782-702C-4DDB-8651-4D05C2A85A08}"/>
    <dgm:cxn modelId="{19F277A6-072E-4153-A73F-197EC5ABF40D}" type="presOf" srcId="{72AA6941-387D-497D-B0BC-6768BBEC4C58}" destId="{38C66E7A-F90C-4FBF-A6CA-E6F4CF5BB55D}" srcOrd="0" destOrd="2" presId="urn:microsoft.com/office/officeart/2005/8/layout/hList1"/>
    <dgm:cxn modelId="{03EC6CEA-0FF6-4679-B2A5-18AFD46D3F9E}" srcId="{77F50300-6206-4D03-A012-0B3044198BB9}" destId="{72AA6941-387D-497D-B0BC-6768BBEC4C58}" srcOrd="2" destOrd="0" parTransId="{F643B9C8-1240-4D4F-B851-2A0E31F7BA0B}" sibTransId="{E59E2B39-E48E-4720-AD07-92993A3C4EDE}"/>
    <dgm:cxn modelId="{1BF50CAB-D594-4D83-BFF4-45D315FBE6D3}" type="presParOf" srcId="{3CE5891E-AB61-4D41-B935-A958FF13664F}" destId="{C56EE3A8-75BA-4587-B36D-8FDFCC1334AD}" srcOrd="0" destOrd="0" presId="urn:microsoft.com/office/officeart/2005/8/layout/hList1"/>
    <dgm:cxn modelId="{CCF7D578-066D-4279-BA5F-BFD8DF27B222}" type="presParOf" srcId="{C56EE3A8-75BA-4587-B36D-8FDFCC1334AD}" destId="{CCF10B6E-CFEE-4BC8-A60E-DBFD284D8A79}" srcOrd="0" destOrd="0" presId="urn:microsoft.com/office/officeart/2005/8/layout/hList1"/>
    <dgm:cxn modelId="{EA73EBAE-93D1-4CFF-9B7C-DBF8332D1214}" type="presParOf" srcId="{C56EE3A8-75BA-4587-B36D-8FDFCC1334AD}" destId="{38C66E7A-F90C-4FBF-A6CA-E6F4CF5BB55D}"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191E17B-5B68-4118-9C62-1C046653BBDA}" type="doc">
      <dgm:prSet loTypeId="urn:microsoft.com/office/officeart/2005/8/layout/target3" loCatId="relationship" qsTypeId="urn:microsoft.com/office/officeart/2005/8/quickstyle/simple1" qsCatId="simple" csTypeId="urn:microsoft.com/office/officeart/2005/8/colors/accent1_2" csCatId="accent1"/>
      <dgm:spPr/>
      <dgm:t>
        <a:bodyPr/>
        <a:lstStyle/>
        <a:p>
          <a:endParaRPr lang="en-US"/>
        </a:p>
      </dgm:t>
    </dgm:pt>
    <dgm:pt modelId="{359BEFBD-4001-42BE-A636-36B44586FA8B}">
      <dgm:prSet/>
      <dgm:spPr/>
      <dgm:t>
        <a:bodyPr/>
        <a:lstStyle/>
        <a:p>
          <a:r>
            <a:rPr lang="en-US"/>
            <a:t>Ordered Columnstore Indexes reduce segment overlap to allow for fewer segments to be loaded into memory at query time</a:t>
          </a:r>
        </a:p>
      </dgm:t>
    </dgm:pt>
    <dgm:pt modelId="{03C1CF49-F2C0-48CD-8DDD-1CB49824FDF9}" type="parTrans" cxnId="{53DFB649-1F1C-4E57-ADFB-52E6AFD486BB}">
      <dgm:prSet/>
      <dgm:spPr/>
      <dgm:t>
        <a:bodyPr/>
        <a:lstStyle/>
        <a:p>
          <a:endParaRPr lang="en-US"/>
        </a:p>
      </dgm:t>
    </dgm:pt>
    <dgm:pt modelId="{6B942548-200A-4702-8825-6908A1CC0D78}" type="sibTrans" cxnId="{53DFB649-1F1C-4E57-ADFB-52E6AFD486BB}">
      <dgm:prSet/>
      <dgm:spPr/>
      <dgm:t>
        <a:bodyPr/>
        <a:lstStyle/>
        <a:p>
          <a:endParaRPr lang="en-US"/>
        </a:p>
      </dgm:t>
    </dgm:pt>
    <dgm:pt modelId="{0E045AE4-F7B7-421C-A399-24A7857720A2}" type="pres">
      <dgm:prSet presAssocID="{C191E17B-5B68-4118-9C62-1C046653BBDA}" presName="Name0" presStyleCnt="0">
        <dgm:presLayoutVars>
          <dgm:chMax val="7"/>
          <dgm:dir/>
          <dgm:animLvl val="lvl"/>
          <dgm:resizeHandles val="exact"/>
        </dgm:presLayoutVars>
      </dgm:prSet>
      <dgm:spPr/>
    </dgm:pt>
    <dgm:pt modelId="{91D88F3F-885D-4FED-B718-9FA701A08DFF}" type="pres">
      <dgm:prSet presAssocID="{359BEFBD-4001-42BE-A636-36B44586FA8B}" presName="circle1" presStyleLbl="node1" presStyleIdx="0" presStyleCnt="1"/>
      <dgm:spPr/>
    </dgm:pt>
    <dgm:pt modelId="{1BA3409A-D7FD-4D2E-BC3B-759C0755B78C}" type="pres">
      <dgm:prSet presAssocID="{359BEFBD-4001-42BE-A636-36B44586FA8B}" presName="space" presStyleCnt="0"/>
      <dgm:spPr/>
    </dgm:pt>
    <dgm:pt modelId="{659B19CE-76D6-4D9A-9EAD-E0A76512F8E5}" type="pres">
      <dgm:prSet presAssocID="{359BEFBD-4001-42BE-A636-36B44586FA8B}" presName="rect1" presStyleLbl="alignAcc1" presStyleIdx="0" presStyleCnt="1"/>
      <dgm:spPr/>
    </dgm:pt>
    <dgm:pt modelId="{2F7708A7-1689-4E74-9FB3-9162572FBE68}" type="pres">
      <dgm:prSet presAssocID="{359BEFBD-4001-42BE-A636-36B44586FA8B}" presName="rect1ParTxNoCh" presStyleLbl="alignAcc1" presStyleIdx="0" presStyleCnt="1">
        <dgm:presLayoutVars>
          <dgm:chMax val="1"/>
          <dgm:bulletEnabled val="1"/>
        </dgm:presLayoutVars>
      </dgm:prSet>
      <dgm:spPr/>
    </dgm:pt>
  </dgm:ptLst>
  <dgm:cxnLst>
    <dgm:cxn modelId="{DE361849-A4A2-4131-82C6-A869A54862DE}" type="presOf" srcId="{359BEFBD-4001-42BE-A636-36B44586FA8B}" destId="{659B19CE-76D6-4D9A-9EAD-E0A76512F8E5}" srcOrd="0" destOrd="0" presId="urn:microsoft.com/office/officeart/2005/8/layout/target3"/>
    <dgm:cxn modelId="{53DFB649-1F1C-4E57-ADFB-52E6AFD486BB}" srcId="{C191E17B-5B68-4118-9C62-1C046653BBDA}" destId="{359BEFBD-4001-42BE-A636-36B44586FA8B}" srcOrd="0" destOrd="0" parTransId="{03C1CF49-F2C0-48CD-8DDD-1CB49824FDF9}" sibTransId="{6B942548-200A-4702-8825-6908A1CC0D78}"/>
    <dgm:cxn modelId="{D4AAA0CB-2279-45CC-AF3E-08089AD006A8}" type="presOf" srcId="{C191E17B-5B68-4118-9C62-1C046653BBDA}" destId="{0E045AE4-F7B7-421C-A399-24A7857720A2}" srcOrd="0" destOrd="0" presId="urn:microsoft.com/office/officeart/2005/8/layout/target3"/>
    <dgm:cxn modelId="{1E2919D5-B1B1-4E6B-A20A-E59C83D14741}" type="presOf" srcId="{359BEFBD-4001-42BE-A636-36B44586FA8B}" destId="{2F7708A7-1689-4E74-9FB3-9162572FBE68}" srcOrd="1" destOrd="0" presId="urn:microsoft.com/office/officeart/2005/8/layout/target3"/>
    <dgm:cxn modelId="{FEF4E500-FF26-4D75-8FA7-9C2E70543EFD}" type="presParOf" srcId="{0E045AE4-F7B7-421C-A399-24A7857720A2}" destId="{91D88F3F-885D-4FED-B718-9FA701A08DFF}" srcOrd="0" destOrd="0" presId="urn:microsoft.com/office/officeart/2005/8/layout/target3"/>
    <dgm:cxn modelId="{17A32361-C721-45AF-92E7-32C34652F90C}" type="presParOf" srcId="{0E045AE4-F7B7-421C-A399-24A7857720A2}" destId="{1BA3409A-D7FD-4D2E-BC3B-759C0755B78C}" srcOrd="1" destOrd="0" presId="urn:microsoft.com/office/officeart/2005/8/layout/target3"/>
    <dgm:cxn modelId="{DC1B7E34-E536-44C7-9A1F-0E61E014D45C}" type="presParOf" srcId="{0E045AE4-F7B7-421C-A399-24A7857720A2}" destId="{659B19CE-76D6-4D9A-9EAD-E0A76512F8E5}" srcOrd="2" destOrd="0" presId="urn:microsoft.com/office/officeart/2005/8/layout/target3"/>
    <dgm:cxn modelId="{97FB9331-D083-4ADB-90B8-9E023CAC2F62}" type="presParOf" srcId="{0E045AE4-F7B7-421C-A399-24A7857720A2}" destId="{2F7708A7-1689-4E74-9FB3-9162572FBE68}" srcOrd="3" destOrd="0" presId="urn:microsoft.com/office/officeart/2005/8/layout/targe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5A1CBB7B-8B30-4BA8-986A-A2ACCCCCAB4B}"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20D72342-3470-49CF-BE95-83904432BD51}">
      <dgm:prSet custT="1"/>
      <dgm:spPr/>
      <dgm:t>
        <a:bodyPr/>
        <a:lstStyle/>
        <a:p>
          <a:r>
            <a:rPr lang="en-US" sz="2000" baseline="0" dirty="0"/>
            <a:t>Table distribution</a:t>
          </a:r>
          <a:endParaRPr lang="en-US" sz="2000" dirty="0"/>
        </a:p>
      </dgm:t>
    </dgm:pt>
    <dgm:pt modelId="{C3E2AF86-B4D1-40C8-A191-4F3725E1C8E5}" type="parTrans" cxnId="{152AAEF6-E6BA-4E89-BBF2-6E1D95064DDF}">
      <dgm:prSet/>
      <dgm:spPr/>
      <dgm:t>
        <a:bodyPr/>
        <a:lstStyle/>
        <a:p>
          <a:endParaRPr lang="en-US"/>
        </a:p>
      </dgm:t>
    </dgm:pt>
    <dgm:pt modelId="{28EA884F-5AA6-4F38-8385-63435215A5CC}" type="sibTrans" cxnId="{152AAEF6-E6BA-4E89-BBF2-6E1D95064DDF}">
      <dgm:prSet/>
      <dgm:spPr/>
      <dgm:t>
        <a:bodyPr/>
        <a:lstStyle/>
        <a:p>
          <a:endParaRPr lang="en-US"/>
        </a:p>
      </dgm:t>
    </dgm:pt>
    <dgm:pt modelId="{50C79C7D-0CA5-425D-BCEF-A18BF5BA5BE9}">
      <dgm:prSet custT="1"/>
      <dgm:spPr/>
      <dgm:t>
        <a:bodyPr/>
        <a:lstStyle/>
        <a:p>
          <a:r>
            <a:rPr lang="en-US" sz="2000" baseline="0" dirty="0"/>
            <a:t>Improper table distribution could cause excess data movement at query time</a:t>
          </a:r>
          <a:endParaRPr lang="en-US" sz="2000" dirty="0"/>
        </a:p>
      </dgm:t>
    </dgm:pt>
    <dgm:pt modelId="{85BC40EB-57D4-4EAA-A794-FB74E186811E}" type="parTrans" cxnId="{2E738283-5E4E-4F5C-B3E6-8E323332EE7E}">
      <dgm:prSet/>
      <dgm:spPr/>
      <dgm:t>
        <a:bodyPr/>
        <a:lstStyle/>
        <a:p>
          <a:endParaRPr lang="en-US"/>
        </a:p>
      </dgm:t>
    </dgm:pt>
    <dgm:pt modelId="{2D029C1D-0F5D-4EE2-8B7A-AC2CC635C14A}" type="sibTrans" cxnId="{2E738283-5E4E-4F5C-B3E6-8E323332EE7E}">
      <dgm:prSet/>
      <dgm:spPr/>
      <dgm:t>
        <a:bodyPr/>
        <a:lstStyle/>
        <a:p>
          <a:endParaRPr lang="en-US"/>
        </a:p>
      </dgm:t>
    </dgm:pt>
    <dgm:pt modelId="{CF4DAA91-B671-4376-8365-F53D49B2B415}">
      <dgm:prSet custT="1"/>
      <dgm:spPr/>
      <dgm:t>
        <a:bodyPr/>
        <a:lstStyle/>
        <a:p>
          <a:r>
            <a:rPr lang="en-US" sz="2000" baseline="0"/>
            <a:t>Index choice</a:t>
          </a:r>
          <a:endParaRPr lang="en-US" sz="2000"/>
        </a:p>
      </dgm:t>
    </dgm:pt>
    <dgm:pt modelId="{8AA1FA17-EAE7-447A-B9F5-6FAF9ED15008}" type="parTrans" cxnId="{BEFBC7D0-0857-4FE1-88FD-117D73D7CD3D}">
      <dgm:prSet/>
      <dgm:spPr/>
      <dgm:t>
        <a:bodyPr/>
        <a:lstStyle/>
        <a:p>
          <a:endParaRPr lang="en-US"/>
        </a:p>
      </dgm:t>
    </dgm:pt>
    <dgm:pt modelId="{021BB53C-DCB1-4ECF-B236-C7E234E67493}" type="sibTrans" cxnId="{BEFBC7D0-0857-4FE1-88FD-117D73D7CD3D}">
      <dgm:prSet/>
      <dgm:spPr/>
      <dgm:t>
        <a:bodyPr/>
        <a:lstStyle/>
        <a:p>
          <a:endParaRPr lang="en-US"/>
        </a:p>
      </dgm:t>
    </dgm:pt>
    <dgm:pt modelId="{31D2FA76-E30F-41BD-8772-CE1BB49CBBDC}">
      <dgm:prSet custT="1"/>
      <dgm:spPr/>
      <dgm:t>
        <a:bodyPr/>
        <a:lstStyle/>
        <a:p>
          <a:r>
            <a:rPr lang="en-US" sz="2000" baseline="0" dirty="0"/>
            <a:t>Heaps are fastest to create, but in general columnstore indexes are fastest to query</a:t>
          </a:r>
          <a:endParaRPr lang="en-US" sz="2000" dirty="0"/>
        </a:p>
      </dgm:t>
    </dgm:pt>
    <dgm:pt modelId="{DBCCC050-C67E-4D89-B5AB-9E7F306690C6}" type="parTrans" cxnId="{99B54884-7B2A-4BBB-9EFA-DD2703303C29}">
      <dgm:prSet/>
      <dgm:spPr/>
      <dgm:t>
        <a:bodyPr/>
        <a:lstStyle/>
        <a:p>
          <a:endParaRPr lang="en-US"/>
        </a:p>
      </dgm:t>
    </dgm:pt>
    <dgm:pt modelId="{4AE28AB1-1E3E-43A3-857A-FBA613EFA3DF}" type="sibTrans" cxnId="{99B54884-7B2A-4BBB-9EFA-DD2703303C29}">
      <dgm:prSet/>
      <dgm:spPr/>
      <dgm:t>
        <a:bodyPr/>
        <a:lstStyle/>
        <a:p>
          <a:endParaRPr lang="en-US"/>
        </a:p>
      </dgm:t>
    </dgm:pt>
    <dgm:pt modelId="{F45CBCBF-955B-48C3-B4E8-7559ACB969FE}">
      <dgm:prSet custT="1"/>
      <dgm:spPr/>
      <dgm:t>
        <a:bodyPr/>
        <a:lstStyle/>
        <a:p>
          <a:r>
            <a:rPr lang="en-US" sz="2000" baseline="0" dirty="0"/>
            <a:t>Clustered indexes shine when filtering on the index column</a:t>
          </a:r>
          <a:endParaRPr lang="en-US" sz="2000" dirty="0"/>
        </a:p>
      </dgm:t>
    </dgm:pt>
    <dgm:pt modelId="{71F218E9-67AB-492A-96B1-C100044DBCC2}" type="parTrans" cxnId="{E00E1E58-5405-4D95-854D-21834CE12FE3}">
      <dgm:prSet/>
      <dgm:spPr/>
      <dgm:t>
        <a:bodyPr/>
        <a:lstStyle/>
        <a:p>
          <a:endParaRPr lang="en-US"/>
        </a:p>
      </dgm:t>
    </dgm:pt>
    <dgm:pt modelId="{09699FA3-C158-4BB9-A5F7-9933BD724576}" type="sibTrans" cxnId="{E00E1E58-5405-4D95-854D-21834CE12FE3}">
      <dgm:prSet/>
      <dgm:spPr/>
      <dgm:t>
        <a:bodyPr/>
        <a:lstStyle/>
        <a:p>
          <a:endParaRPr lang="en-US"/>
        </a:p>
      </dgm:t>
    </dgm:pt>
    <dgm:pt modelId="{4A77BF46-5D60-4169-9E80-004537500E87}">
      <dgm:prSet custT="1"/>
      <dgm:spPr/>
      <dgm:t>
        <a:bodyPr/>
        <a:lstStyle/>
        <a:p>
          <a:r>
            <a:rPr lang="en-US" sz="2000" baseline="0" dirty="0"/>
            <a:t>Index health (especially for CCI)</a:t>
          </a:r>
          <a:endParaRPr lang="en-US" sz="2000" dirty="0"/>
        </a:p>
      </dgm:t>
    </dgm:pt>
    <dgm:pt modelId="{A1D5E85C-D794-4E4F-8963-183C0D10E385}" type="parTrans" cxnId="{B61523F6-2C17-48E4-AE29-B769F45C31C3}">
      <dgm:prSet/>
      <dgm:spPr/>
      <dgm:t>
        <a:bodyPr/>
        <a:lstStyle/>
        <a:p>
          <a:endParaRPr lang="en-US"/>
        </a:p>
      </dgm:t>
    </dgm:pt>
    <dgm:pt modelId="{BE1C1C4F-91BC-49C9-87DD-1431CDE45BF5}" type="sibTrans" cxnId="{B61523F6-2C17-48E4-AE29-B769F45C31C3}">
      <dgm:prSet/>
      <dgm:spPr/>
      <dgm:t>
        <a:bodyPr/>
        <a:lstStyle/>
        <a:p>
          <a:endParaRPr lang="en-US"/>
        </a:p>
      </dgm:t>
    </dgm:pt>
    <dgm:pt modelId="{A0043867-A0E6-4FDB-AA44-B3F41282729D}">
      <dgm:prSet custT="1"/>
      <dgm:spPr/>
      <dgm:t>
        <a:bodyPr/>
        <a:lstStyle/>
        <a:p>
          <a:r>
            <a:rPr lang="en-US" sz="2000" baseline="0" dirty="0"/>
            <a:t>Poor segmentation can lead to excess memory requirements and poor compression</a:t>
          </a:r>
          <a:endParaRPr lang="en-US" sz="2000" dirty="0"/>
        </a:p>
      </dgm:t>
    </dgm:pt>
    <dgm:pt modelId="{1B9F9812-EC4D-40CC-959A-85808CD8DA60}" type="parTrans" cxnId="{955100C0-1972-4C22-82B8-D49F3807A996}">
      <dgm:prSet/>
      <dgm:spPr/>
      <dgm:t>
        <a:bodyPr/>
        <a:lstStyle/>
        <a:p>
          <a:endParaRPr lang="en-US"/>
        </a:p>
      </dgm:t>
    </dgm:pt>
    <dgm:pt modelId="{A78568C5-69E5-4FB8-8DAA-D24E81103D2C}" type="sibTrans" cxnId="{955100C0-1972-4C22-82B8-D49F3807A996}">
      <dgm:prSet/>
      <dgm:spPr/>
      <dgm:t>
        <a:bodyPr/>
        <a:lstStyle/>
        <a:p>
          <a:endParaRPr lang="en-US"/>
        </a:p>
      </dgm:t>
    </dgm:pt>
    <dgm:pt modelId="{98F488ED-37D5-4B1D-9A6A-678CAA1DFADD}">
      <dgm:prSet custT="1"/>
      <dgm:spPr/>
      <dgm:t>
        <a:bodyPr/>
        <a:lstStyle/>
        <a:p>
          <a:r>
            <a:rPr lang="en-US" sz="2000" baseline="0" dirty="0"/>
            <a:t>Materialized views</a:t>
          </a:r>
          <a:endParaRPr lang="en-US" sz="2000" dirty="0"/>
        </a:p>
      </dgm:t>
    </dgm:pt>
    <dgm:pt modelId="{FC78F174-92C1-45FE-B172-ED77A3727379}" type="parTrans" cxnId="{C87DFF60-69E7-4274-91F5-641B41739BB9}">
      <dgm:prSet/>
      <dgm:spPr/>
      <dgm:t>
        <a:bodyPr/>
        <a:lstStyle/>
        <a:p>
          <a:endParaRPr lang="en-US"/>
        </a:p>
      </dgm:t>
    </dgm:pt>
    <dgm:pt modelId="{5C26A7B2-A53A-43E1-9F09-F56B96F353C8}" type="sibTrans" cxnId="{C87DFF60-69E7-4274-91F5-641B41739BB9}">
      <dgm:prSet/>
      <dgm:spPr/>
      <dgm:t>
        <a:bodyPr/>
        <a:lstStyle/>
        <a:p>
          <a:endParaRPr lang="en-US"/>
        </a:p>
      </dgm:t>
    </dgm:pt>
    <dgm:pt modelId="{212A2140-1268-4B36-A2BF-5CABD6AB2044}">
      <dgm:prSet custT="1"/>
      <dgm:spPr/>
      <dgm:t>
        <a:bodyPr/>
        <a:lstStyle/>
        <a:p>
          <a:r>
            <a:rPr lang="en-US" sz="2000" baseline="0"/>
            <a:t>Used to pre-calculate aggregations</a:t>
          </a:r>
          <a:endParaRPr lang="en-US" sz="2000"/>
        </a:p>
      </dgm:t>
    </dgm:pt>
    <dgm:pt modelId="{5F5E529E-9CC7-4DCC-9822-5AA40B454517}" type="parTrans" cxnId="{D7147B22-656B-4548-A2A5-2B217A024762}">
      <dgm:prSet/>
      <dgm:spPr/>
      <dgm:t>
        <a:bodyPr/>
        <a:lstStyle/>
        <a:p>
          <a:endParaRPr lang="en-US"/>
        </a:p>
      </dgm:t>
    </dgm:pt>
    <dgm:pt modelId="{FDBCDF32-6CAC-4848-92A8-0CD9D31A0D05}" type="sibTrans" cxnId="{D7147B22-656B-4548-A2A5-2B217A024762}">
      <dgm:prSet/>
      <dgm:spPr/>
      <dgm:t>
        <a:bodyPr/>
        <a:lstStyle/>
        <a:p>
          <a:endParaRPr lang="en-US"/>
        </a:p>
      </dgm:t>
    </dgm:pt>
    <dgm:pt modelId="{7905EF45-A50C-4191-8E0F-BDE68DD26162}">
      <dgm:prSet custT="1"/>
      <dgm:spPr/>
      <dgm:t>
        <a:bodyPr/>
        <a:lstStyle/>
        <a:p>
          <a:r>
            <a:rPr lang="en-US" sz="2000" baseline="0" dirty="0"/>
            <a:t>EXPLAIN WITH_RECOMMENDATIONS to view suggested materialized views</a:t>
          </a:r>
          <a:endParaRPr lang="en-US" sz="2000" dirty="0"/>
        </a:p>
      </dgm:t>
    </dgm:pt>
    <dgm:pt modelId="{6FF3B726-ED96-4C38-A598-68E232DA6E0D}" type="parTrans" cxnId="{02628045-8ECA-4576-9010-7B3680D8D2C2}">
      <dgm:prSet/>
      <dgm:spPr/>
      <dgm:t>
        <a:bodyPr/>
        <a:lstStyle/>
        <a:p>
          <a:endParaRPr lang="en-US"/>
        </a:p>
      </dgm:t>
    </dgm:pt>
    <dgm:pt modelId="{122FEEB5-2C25-4BEA-829A-C2666508F7D2}" type="sibTrans" cxnId="{02628045-8ECA-4576-9010-7B3680D8D2C2}">
      <dgm:prSet/>
      <dgm:spPr/>
      <dgm:t>
        <a:bodyPr/>
        <a:lstStyle/>
        <a:p>
          <a:endParaRPr lang="en-US"/>
        </a:p>
      </dgm:t>
    </dgm:pt>
    <dgm:pt modelId="{159AE6D7-317F-4692-9B70-62E0AF4FF460}">
      <dgm:prSet custT="1"/>
      <dgm:spPr/>
      <dgm:t>
        <a:bodyPr/>
        <a:lstStyle/>
        <a:p>
          <a:r>
            <a:rPr lang="en-US" sz="2000" baseline="0"/>
            <a:t>Hints</a:t>
          </a:r>
          <a:endParaRPr lang="en-US" sz="2000"/>
        </a:p>
      </dgm:t>
    </dgm:pt>
    <dgm:pt modelId="{0D8BB09F-0538-4A3C-8CF4-F0447A851481}" type="parTrans" cxnId="{968F65B6-F650-42BF-B4EB-EA1B61F2507F}">
      <dgm:prSet/>
      <dgm:spPr/>
      <dgm:t>
        <a:bodyPr/>
        <a:lstStyle/>
        <a:p>
          <a:endParaRPr lang="en-US"/>
        </a:p>
      </dgm:t>
    </dgm:pt>
    <dgm:pt modelId="{DB60CE3E-BFCE-4800-913C-591BF9D8E75A}" type="sibTrans" cxnId="{968F65B6-F650-42BF-B4EB-EA1B61F2507F}">
      <dgm:prSet/>
      <dgm:spPr/>
      <dgm:t>
        <a:bodyPr/>
        <a:lstStyle/>
        <a:p>
          <a:endParaRPr lang="en-US"/>
        </a:p>
      </dgm:t>
    </dgm:pt>
    <dgm:pt modelId="{1C3F1699-8BDA-47FC-8965-13E8DA688DD8}">
      <dgm:prSet custT="1"/>
      <dgm:spPr/>
      <dgm:t>
        <a:bodyPr/>
        <a:lstStyle/>
        <a:p>
          <a:r>
            <a:rPr lang="en-US" sz="2000" baseline="0" dirty="0"/>
            <a:t>If a query is much slower than expected, FORCE ORDER may provide immediate performance gains</a:t>
          </a:r>
          <a:endParaRPr lang="en-US" sz="2000" dirty="0"/>
        </a:p>
      </dgm:t>
    </dgm:pt>
    <dgm:pt modelId="{E4FB6135-B5E9-482A-887A-3D7A07E1D5E0}" type="parTrans" cxnId="{A31AFC4A-9F8F-429D-B327-253BD5031E65}">
      <dgm:prSet/>
      <dgm:spPr/>
      <dgm:t>
        <a:bodyPr/>
        <a:lstStyle/>
        <a:p>
          <a:endParaRPr lang="en-US"/>
        </a:p>
      </dgm:t>
    </dgm:pt>
    <dgm:pt modelId="{5B1739C4-EC08-4101-838B-BC302462FB92}" type="sibTrans" cxnId="{A31AFC4A-9F8F-429D-B327-253BD5031E65}">
      <dgm:prSet/>
      <dgm:spPr/>
      <dgm:t>
        <a:bodyPr/>
        <a:lstStyle/>
        <a:p>
          <a:endParaRPr lang="en-US"/>
        </a:p>
      </dgm:t>
    </dgm:pt>
    <dgm:pt modelId="{6DCF3082-EB16-41CC-83F8-6AA16C24559F}">
      <dgm:prSet custT="1"/>
      <dgm:spPr/>
      <dgm:t>
        <a:bodyPr/>
        <a:lstStyle/>
        <a:p>
          <a:r>
            <a:rPr lang="en-US" sz="2000" baseline="0" dirty="0"/>
            <a:t>Workload Group allocation</a:t>
          </a:r>
          <a:endParaRPr lang="en-US" sz="2000" dirty="0"/>
        </a:p>
      </dgm:t>
    </dgm:pt>
    <dgm:pt modelId="{E8B5079C-5D43-42B0-ABFC-3C62AEC2B21C}" type="parTrans" cxnId="{99159744-D6C8-40A9-9071-628A98EAE481}">
      <dgm:prSet/>
      <dgm:spPr/>
      <dgm:t>
        <a:bodyPr/>
        <a:lstStyle/>
        <a:p>
          <a:endParaRPr lang="en-US"/>
        </a:p>
      </dgm:t>
    </dgm:pt>
    <dgm:pt modelId="{AC50EC3E-BB55-4E8A-A50D-44A3D0C0A158}" type="sibTrans" cxnId="{99159744-D6C8-40A9-9071-628A98EAE481}">
      <dgm:prSet/>
      <dgm:spPr/>
      <dgm:t>
        <a:bodyPr/>
        <a:lstStyle/>
        <a:p>
          <a:endParaRPr lang="en-US"/>
        </a:p>
      </dgm:t>
    </dgm:pt>
    <dgm:pt modelId="{7A9C6ADD-4E19-4137-9C8F-51815EA70274}" type="pres">
      <dgm:prSet presAssocID="{5A1CBB7B-8B30-4BA8-986A-A2ACCCCCAB4B}" presName="linear" presStyleCnt="0">
        <dgm:presLayoutVars>
          <dgm:animLvl val="lvl"/>
          <dgm:resizeHandles val="exact"/>
        </dgm:presLayoutVars>
      </dgm:prSet>
      <dgm:spPr/>
    </dgm:pt>
    <dgm:pt modelId="{81AF0164-BE09-47FC-8DCB-E8A03D670404}" type="pres">
      <dgm:prSet presAssocID="{20D72342-3470-49CF-BE95-83904432BD51}" presName="parentText" presStyleLbl="node1" presStyleIdx="0" presStyleCnt="6">
        <dgm:presLayoutVars>
          <dgm:chMax val="0"/>
          <dgm:bulletEnabled val="1"/>
        </dgm:presLayoutVars>
      </dgm:prSet>
      <dgm:spPr/>
    </dgm:pt>
    <dgm:pt modelId="{0676355C-A38C-4288-BE80-14EA590A2C3E}" type="pres">
      <dgm:prSet presAssocID="{20D72342-3470-49CF-BE95-83904432BD51}" presName="childText" presStyleLbl="revTx" presStyleIdx="0" presStyleCnt="5">
        <dgm:presLayoutVars>
          <dgm:bulletEnabled val="1"/>
        </dgm:presLayoutVars>
      </dgm:prSet>
      <dgm:spPr/>
    </dgm:pt>
    <dgm:pt modelId="{4F7AD21D-136B-4076-AFD8-CC0C220BA5EC}" type="pres">
      <dgm:prSet presAssocID="{CF4DAA91-B671-4376-8365-F53D49B2B415}" presName="parentText" presStyleLbl="node1" presStyleIdx="1" presStyleCnt="6">
        <dgm:presLayoutVars>
          <dgm:chMax val="0"/>
          <dgm:bulletEnabled val="1"/>
        </dgm:presLayoutVars>
      </dgm:prSet>
      <dgm:spPr/>
    </dgm:pt>
    <dgm:pt modelId="{178B3421-29F9-47D6-9F6A-B7D140C9075F}" type="pres">
      <dgm:prSet presAssocID="{CF4DAA91-B671-4376-8365-F53D49B2B415}" presName="childText" presStyleLbl="revTx" presStyleIdx="1" presStyleCnt="5">
        <dgm:presLayoutVars>
          <dgm:bulletEnabled val="1"/>
        </dgm:presLayoutVars>
      </dgm:prSet>
      <dgm:spPr/>
    </dgm:pt>
    <dgm:pt modelId="{20F7F18F-F7B6-4EDD-91C8-BF37AFAA3489}" type="pres">
      <dgm:prSet presAssocID="{4A77BF46-5D60-4169-9E80-004537500E87}" presName="parentText" presStyleLbl="node1" presStyleIdx="2" presStyleCnt="6">
        <dgm:presLayoutVars>
          <dgm:chMax val="0"/>
          <dgm:bulletEnabled val="1"/>
        </dgm:presLayoutVars>
      </dgm:prSet>
      <dgm:spPr/>
    </dgm:pt>
    <dgm:pt modelId="{67149F6C-95EB-40CD-93C9-0E19FABF487F}" type="pres">
      <dgm:prSet presAssocID="{4A77BF46-5D60-4169-9E80-004537500E87}" presName="childText" presStyleLbl="revTx" presStyleIdx="2" presStyleCnt="5">
        <dgm:presLayoutVars>
          <dgm:bulletEnabled val="1"/>
        </dgm:presLayoutVars>
      </dgm:prSet>
      <dgm:spPr/>
    </dgm:pt>
    <dgm:pt modelId="{D7FB9F35-2164-4B3D-9A38-ED01F1CF299D}" type="pres">
      <dgm:prSet presAssocID="{98F488ED-37D5-4B1D-9A6A-678CAA1DFADD}" presName="parentText" presStyleLbl="node1" presStyleIdx="3" presStyleCnt="6">
        <dgm:presLayoutVars>
          <dgm:chMax val="0"/>
          <dgm:bulletEnabled val="1"/>
        </dgm:presLayoutVars>
      </dgm:prSet>
      <dgm:spPr/>
    </dgm:pt>
    <dgm:pt modelId="{89E4E2D5-6D0F-4A57-9F2B-3F73FF079F9F}" type="pres">
      <dgm:prSet presAssocID="{98F488ED-37D5-4B1D-9A6A-678CAA1DFADD}" presName="childText" presStyleLbl="revTx" presStyleIdx="3" presStyleCnt="5">
        <dgm:presLayoutVars>
          <dgm:bulletEnabled val="1"/>
        </dgm:presLayoutVars>
      </dgm:prSet>
      <dgm:spPr/>
    </dgm:pt>
    <dgm:pt modelId="{C52E95B4-8BF4-4917-B9BA-EDB172D2EDFD}" type="pres">
      <dgm:prSet presAssocID="{159AE6D7-317F-4692-9B70-62E0AF4FF460}" presName="parentText" presStyleLbl="node1" presStyleIdx="4" presStyleCnt="6">
        <dgm:presLayoutVars>
          <dgm:chMax val="0"/>
          <dgm:bulletEnabled val="1"/>
        </dgm:presLayoutVars>
      </dgm:prSet>
      <dgm:spPr/>
    </dgm:pt>
    <dgm:pt modelId="{9DC4EC7A-FC3F-4E99-8F69-36D5CD24143C}" type="pres">
      <dgm:prSet presAssocID="{159AE6D7-317F-4692-9B70-62E0AF4FF460}" presName="childText" presStyleLbl="revTx" presStyleIdx="4" presStyleCnt="5">
        <dgm:presLayoutVars>
          <dgm:bulletEnabled val="1"/>
        </dgm:presLayoutVars>
      </dgm:prSet>
      <dgm:spPr/>
    </dgm:pt>
    <dgm:pt modelId="{6E9E58BD-EA9E-4AE9-94EA-B3C253754A25}" type="pres">
      <dgm:prSet presAssocID="{6DCF3082-EB16-41CC-83F8-6AA16C24559F}" presName="parentText" presStyleLbl="node1" presStyleIdx="5" presStyleCnt="6">
        <dgm:presLayoutVars>
          <dgm:chMax val="0"/>
          <dgm:bulletEnabled val="1"/>
        </dgm:presLayoutVars>
      </dgm:prSet>
      <dgm:spPr/>
    </dgm:pt>
  </dgm:ptLst>
  <dgm:cxnLst>
    <dgm:cxn modelId="{C7A96409-96E2-43C7-A761-EDBED553B6C1}" type="presOf" srcId="{98F488ED-37D5-4B1D-9A6A-678CAA1DFADD}" destId="{D7FB9F35-2164-4B3D-9A38-ED01F1CF299D}" srcOrd="0" destOrd="0" presId="urn:microsoft.com/office/officeart/2005/8/layout/vList2"/>
    <dgm:cxn modelId="{74AA1C0A-F38D-404E-8AAD-4B2F5DB69AE4}" type="presOf" srcId="{A0043867-A0E6-4FDB-AA44-B3F41282729D}" destId="{67149F6C-95EB-40CD-93C9-0E19FABF487F}" srcOrd="0" destOrd="0" presId="urn:microsoft.com/office/officeart/2005/8/layout/vList2"/>
    <dgm:cxn modelId="{6A88C10F-CB58-4190-B0DA-309D89C5E008}" type="presOf" srcId="{5A1CBB7B-8B30-4BA8-986A-A2ACCCCCAB4B}" destId="{7A9C6ADD-4E19-4137-9C8F-51815EA70274}" srcOrd="0" destOrd="0" presId="urn:microsoft.com/office/officeart/2005/8/layout/vList2"/>
    <dgm:cxn modelId="{D16A2A15-40FF-4CD6-9B5B-FCDF3BCAE30F}" type="presOf" srcId="{7905EF45-A50C-4191-8E0F-BDE68DD26162}" destId="{89E4E2D5-6D0F-4A57-9F2B-3F73FF079F9F}" srcOrd="0" destOrd="1" presId="urn:microsoft.com/office/officeart/2005/8/layout/vList2"/>
    <dgm:cxn modelId="{D7147B22-656B-4548-A2A5-2B217A024762}" srcId="{98F488ED-37D5-4B1D-9A6A-678CAA1DFADD}" destId="{212A2140-1268-4B36-A2BF-5CABD6AB2044}" srcOrd="0" destOrd="0" parTransId="{5F5E529E-9CC7-4DCC-9822-5AA40B454517}" sibTransId="{FDBCDF32-6CAC-4848-92A8-0CD9D31A0D05}"/>
    <dgm:cxn modelId="{1E98F42E-A327-4A62-81E5-01795903BEBF}" type="presOf" srcId="{159AE6D7-317F-4692-9B70-62E0AF4FF460}" destId="{C52E95B4-8BF4-4917-B9BA-EDB172D2EDFD}" srcOrd="0" destOrd="0" presId="urn:microsoft.com/office/officeart/2005/8/layout/vList2"/>
    <dgm:cxn modelId="{C87DFF60-69E7-4274-91F5-641B41739BB9}" srcId="{5A1CBB7B-8B30-4BA8-986A-A2ACCCCCAB4B}" destId="{98F488ED-37D5-4B1D-9A6A-678CAA1DFADD}" srcOrd="3" destOrd="0" parTransId="{FC78F174-92C1-45FE-B172-ED77A3727379}" sibTransId="{5C26A7B2-A53A-43E1-9F09-F56B96F353C8}"/>
    <dgm:cxn modelId="{99159744-D6C8-40A9-9071-628A98EAE481}" srcId="{5A1CBB7B-8B30-4BA8-986A-A2ACCCCCAB4B}" destId="{6DCF3082-EB16-41CC-83F8-6AA16C24559F}" srcOrd="5" destOrd="0" parTransId="{E8B5079C-5D43-42B0-ABFC-3C62AEC2B21C}" sibTransId="{AC50EC3E-BB55-4E8A-A50D-44A3D0C0A158}"/>
    <dgm:cxn modelId="{02628045-8ECA-4576-9010-7B3680D8D2C2}" srcId="{98F488ED-37D5-4B1D-9A6A-678CAA1DFADD}" destId="{7905EF45-A50C-4191-8E0F-BDE68DD26162}" srcOrd="1" destOrd="0" parTransId="{6FF3B726-ED96-4C38-A598-68E232DA6E0D}" sibTransId="{122FEEB5-2C25-4BEA-829A-C2666508F7D2}"/>
    <dgm:cxn modelId="{7502C865-B980-4803-AF8C-4778170A45F3}" type="presOf" srcId="{CF4DAA91-B671-4376-8365-F53D49B2B415}" destId="{4F7AD21D-136B-4076-AFD8-CC0C220BA5EC}" srcOrd="0" destOrd="0" presId="urn:microsoft.com/office/officeart/2005/8/layout/vList2"/>
    <dgm:cxn modelId="{A92FAF46-369F-4C64-AFE8-38161C9D12B8}" type="presOf" srcId="{F45CBCBF-955B-48C3-B4E8-7559ACB969FE}" destId="{178B3421-29F9-47D6-9F6A-B7D140C9075F}" srcOrd="0" destOrd="1" presId="urn:microsoft.com/office/officeart/2005/8/layout/vList2"/>
    <dgm:cxn modelId="{A31AFC4A-9F8F-429D-B327-253BD5031E65}" srcId="{159AE6D7-317F-4692-9B70-62E0AF4FF460}" destId="{1C3F1699-8BDA-47FC-8965-13E8DA688DD8}" srcOrd="0" destOrd="0" parTransId="{E4FB6135-B5E9-482A-887A-3D7A07E1D5E0}" sibTransId="{5B1739C4-EC08-4101-838B-BC302462FB92}"/>
    <dgm:cxn modelId="{6A7C4752-32E8-4AF3-AD11-9A2ED54D81F3}" type="presOf" srcId="{20D72342-3470-49CF-BE95-83904432BD51}" destId="{81AF0164-BE09-47FC-8DCB-E8A03D670404}" srcOrd="0" destOrd="0" presId="urn:microsoft.com/office/officeart/2005/8/layout/vList2"/>
    <dgm:cxn modelId="{44580557-6B6F-4BA0-86B5-2729109E383A}" type="presOf" srcId="{4A77BF46-5D60-4169-9E80-004537500E87}" destId="{20F7F18F-F7B6-4EDD-91C8-BF37AFAA3489}" srcOrd="0" destOrd="0" presId="urn:microsoft.com/office/officeart/2005/8/layout/vList2"/>
    <dgm:cxn modelId="{E00E1E58-5405-4D95-854D-21834CE12FE3}" srcId="{CF4DAA91-B671-4376-8365-F53D49B2B415}" destId="{F45CBCBF-955B-48C3-B4E8-7559ACB969FE}" srcOrd="1" destOrd="0" parTransId="{71F218E9-67AB-492A-96B1-C100044DBCC2}" sibTransId="{09699FA3-C158-4BB9-A5F7-9933BD724576}"/>
    <dgm:cxn modelId="{8813D258-06EC-4E39-A70C-EFD7C69DDFD1}" type="presOf" srcId="{1C3F1699-8BDA-47FC-8965-13E8DA688DD8}" destId="{9DC4EC7A-FC3F-4E99-8F69-36D5CD24143C}" srcOrd="0" destOrd="0" presId="urn:microsoft.com/office/officeart/2005/8/layout/vList2"/>
    <dgm:cxn modelId="{BA5E717C-5FE0-472C-8D4E-04FD67BBB822}" type="presOf" srcId="{31D2FA76-E30F-41BD-8772-CE1BB49CBBDC}" destId="{178B3421-29F9-47D6-9F6A-B7D140C9075F}" srcOrd="0" destOrd="0" presId="urn:microsoft.com/office/officeart/2005/8/layout/vList2"/>
    <dgm:cxn modelId="{2E738283-5E4E-4F5C-B3E6-8E323332EE7E}" srcId="{20D72342-3470-49CF-BE95-83904432BD51}" destId="{50C79C7D-0CA5-425D-BCEF-A18BF5BA5BE9}" srcOrd="0" destOrd="0" parTransId="{85BC40EB-57D4-4EAA-A794-FB74E186811E}" sibTransId="{2D029C1D-0F5D-4EE2-8B7A-AC2CC635C14A}"/>
    <dgm:cxn modelId="{99B54884-7B2A-4BBB-9EFA-DD2703303C29}" srcId="{CF4DAA91-B671-4376-8365-F53D49B2B415}" destId="{31D2FA76-E30F-41BD-8772-CE1BB49CBBDC}" srcOrd="0" destOrd="0" parTransId="{DBCCC050-C67E-4D89-B5AB-9E7F306690C6}" sibTransId="{4AE28AB1-1E3E-43A3-857A-FBA613EFA3DF}"/>
    <dgm:cxn modelId="{6476F387-44F9-4A86-AEC6-A83A96B1A339}" type="presOf" srcId="{212A2140-1268-4B36-A2BF-5CABD6AB2044}" destId="{89E4E2D5-6D0F-4A57-9F2B-3F73FF079F9F}" srcOrd="0" destOrd="0" presId="urn:microsoft.com/office/officeart/2005/8/layout/vList2"/>
    <dgm:cxn modelId="{968F65B6-F650-42BF-B4EB-EA1B61F2507F}" srcId="{5A1CBB7B-8B30-4BA8-986A-A2ACCCCCAB4B}" destId="{159AE6D7-317F-4692-9B70-62E0AF4FF460}" srcOrd="4" destOrd="0" parTransId="{0D8BB09F-0538-4A3C-8CF4-F0447A851481}" sibTransId="{DB60CE3E-BFCE-4800-913C-591BF9D8E75A}"/>
    <dgm:cxn modelId="{955100C0-1972-4C22-82B8-D49F3807A996}" srcId="{4A77BF46-5D60-4169-9E80-004537500E87}" destId="{A0043867-A0E6-4FDB-AA44-B3F41282729D}" srcOrd="0" destOrd="0" parTransId="{1B9F9812-EC4D-40CC-959A-85808CD8DA60}" sibTransId="{A78568C5-69E5-4FB8-8DAA-D24E81103D2C}"/>
    <dgm:cxn modelId="{C315CBCD-6268-45AE-A5EF-21035C02AE11}" type="presOf" srcId="{6DCF3082-EB16-41CC-83F8-6AA16C24559F}" destId="{6E9E58BD-EA9E-4AE9-94EA-B3C253754A25}" srcOrd="0" destOrd="0" presId="urn:microsoft.com/office/officeart/2005/8/layout/vList2"/>
    <dgm:cxn modelId="{BEFBC7D0-0857-4FE1-88FD-117D73D7CD3D}" srcId="{5A1CBB7B-8B30-4BA8-986A-A2ACCCCCAB4B}" destId="{CF4DAA91-B671-4376-8365-F53D49B2B415}" srcOrd="1" destOrd="0" parTransId="{8AA1FA17-EAE7-447A-B9F5-6FAF9ED15008}" sibTransId="{021BB53C-DCB1-4ECF-B236-C7E234E67493}"/>
    <dgm:cxn modelId="{1DE2C0D3-C038-4FBF-B78B-DA9D362945D4}" type="presOf" srcId="{50C79C7D-0CA5-425D-BCEF-A18BF5BA5BE9}" destId="{0676355C-A38C-4288-BE80-14EA590A2C3E}" srcOrd="0" destOrd="0" presId="urn:microsoft.com/office/officeart/2005/8/layout/vList2"/>
    <dgm:cxn modelId="{B61523F6-2C17-48E4-AE29-B769F45C31C3}" srcId="{5A1CBB7B-8B30-4BA8-986A-A2ACCCCCAB4B}" destId="{4A77BF46-5D60-4169-9E80-004537500E87}" srcOrd="2" destOrd="0" parTransId="{A1D5E85C-D794-4E4F-8963-183C0D10E385}" sibTransId="{BE1C1C4F-91BC-49C9-87DD-1431CDE45BF5}"/>
    <dgm:cxn modelId="{152AAEF6-E6BA-4E89-BBF2-6E1D95064DDF}" srcId="{5A1CBB7B-8B30-4BA8-986A-A2ACCCCCAB4B}" destId="{20D72342-3470-49CF-BE95-83904432BD51}" srcOrd="0" destOrd="0" parTransId="{C3E2AF86-B4D1-40C8-A191-4F3725E1C8E5}" sibTransId="{28EA884F-5AA6-4F38-8385-63435215A5CC}"/>
    <dgm:cxn modelId="{09E2B313-C5DB-4804-9836-2089E228660E}" type="presParOf" srcId="{7A9C6ADD-4E19-4137-9C8F-51815EA70274}" destId="{81AF0164-BE09-47FC-8DCB-E8A03D670404}" srcOrd="0" destOrd="0" presId="urn:microsoft.com/office/officeart/2005/8/layout/vList2"/>
    <dgm:cxn modelId="{3A9C7F5F-DCCC-4DDB-B5E8-B27A4522A51E}" type="presParOf" srcId="{7A9C6ADD-4E19-4137-9C8F-51815EA70274}" destId="{0676355C-A38C-4288-BE80-14EA590A2C3E}" srcOrd="1" destOrd="0" presId="urn:microsoft.com/office/officeart/2005/8/layout/vList2"/>
    <dgm:cxn modelId="{F1DE3C2E-4D0B-4119-8CC6-935DE9869B00}" type="presParOf" srcId="{7A9C6ADD-4E19-4137-9C8F-51815EA70274}" destId="{4F7AD21D-136B-4076-AFD8-CC0C220BA5EC}" srcOrd="2" destOrd="0" presId="urn:microsoft.com/office/officeart/2005/8/layout/vList2"/>
    <dgm:cxn modelId="{E7CD0CE5-9D28-4FA4-995A-BD42ACA90B6B}" type="presParOf" srcId="{7A9C6ADD-4E19-4137-9C8F-51815EA70274}" destId="{178B3421-29F9-47D6-9F6A-B7D140C9075F}" srcOrd="3" destOrd="0" presId="urn:microsoft.com/office/officeart/2005/8/layout/vList2"/>
    <dgm:cxn modelId="{A200F1D2-6E6E-4913-B86E-81F1F1AB264E}" type="presParOf" srcId="{7A9C6ADD-4E19-4137-9C8F-51815EA70274}" destId="{20F7F18F-F7B6-4EDD-91C8-BF37AFAA3489}" srcOrd="4" destOrd="0" presId="urn:microsoft.com/office/officeart/2005/8/layout/vList2"/>
    <dgm:cxn modelId="{BAB46EA5-0F19-47EC-AE65-3196FE42D567}" type="presParOf" srcId="{7A9C6ADD-4E19-4137-9C8F-51815EA70274}" destId="{67149F6C-95EB-40CD-93C9-0E19FABF487F}" srcOrd="5" destOrd="0" presId="urn:microsoft.com/office/officeart/2005/8/layout/vList2"/>
    <dgm:cxn modelId="{CDB82D39-5AD6-4250-85DF-1B1FA6C4EF5C}" type="presParOf" srcId="{7A9C6ADD-4E19-4137-9C8F-51815EA70274}" destId="{D7FB9F35-2164-4B3D-9A38-ED01F1CF299D}" srcOrd="6" destOrd="0" presId="urn:microsoft.com/office/officeart/2005/8/layout/vList2"/>
    <dgm:cxn modelId="{E2007688-C0DB-45F8-8791-10A356223B14}" type="presParOf" srcId="{7A9C6ADD-4E19-4137-9C8F-51815EA70274}" destId="{89E4E2D5-6D0F-4A57-9F2B-3F73FF079F9F}" srcOrd="7" destOrd="0" presId="urn:microsoft.com/office/officeart/2005/8/layout/vList2"/>
    <dgm:cxn modelId="{6CF8627C-1608-4C28-8248-B0171DB394B9}" type="presParOf" srcId="{7A9C6ADD-4E19-4137-9C8F-51815EA70274}" destId="{C52E95B4-8BF4-4917-B9BA-EDB172D2EDFD}" srcOrd="8" destOrd="0" presId="urn:microsoft.com/office/officeart/2005/8/layout/vList2"/>
    <dgm:cxn modelId="{1D190972-34B7-4616-B599-AE9317EB1F01}" type="presParOf" srcId="{7A9C6ADD-4E19-4137-9C8F-51815EA70274}" destId="{9DC4EC7A-FC3F-4E99-8F69-36D5CD24143C}" srcOrd="9" destOrd="0" presId="urn:microsoft.com/office/officeart/2005/8/layout/vList2"/>
    <dgm:cxn modelId="{BAEDAC85-B852-482F-B6A3-D4E0D8153E9F}" type="presParOf" srcId="{7A9C6ADD-4E19-4137-9C8F-51815EA70274}" destId="{6E9E58BD-EA9E-4AE9-94EA-B3C253754A25}"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4_2" csCatId="accent4" phldr="1"/>
      <dgm:spPr/>
      <dgm:t>
        <a:bodyPr/>
        <a:lstStyle/>
        <a:p>
          <a:endParaRPr lang="en-US"/>
        </a:p>
      </dgm:t>
    </dgm:pt>
    <dgm:pt modelId="{C5464CD1-2A0A-42CF-9EFB-CFBD923C7CDB}">
      <dgm:prSet/>
      <dgm:spPr/>
      <dgm:t>
        <a:bodyPr/>
        <a:lstStyle/>
        <a:p>
          <a:r>
            <a:rPr lang="en-US" dirty="0"/>
            <a:t>Which resource is managed with Workload Groups?</a:t>
          </a:r>
        </a:p>
        <a:p>
          <a:r>
            <a:rPr lang="en-US" dirty="0"/>
            <a:t>CPU / Memory / IO / TempDB</a:t>
          </a:r>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939" custLinFactNeighborY="-165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1"/>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C5464CD1-2A0A-42CF-9EFB-CFBD923C7CDB}">
      <dgm:prSet/>
      <dgm:spPr/>
      <dgm:t>
        <a:bodyPr/>
        <a:lstStyle/>
        <a:p>
          <a:r>
            <a:rPr lang="en-US" dirty="0"/>
            <a:t>What is a potential cause of high TempDB utilization?</a:t>
          </a:r>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313" custLinFactNeighborY="0"/>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5_2" csCatId="accent5" phldr="1"/>
      <dgm:spPr/>
      <dgm:t>
        <a:bodyPr/>
        <a:lstStyle/>
        <a:p>
          <a:endParaRPr lang="en-US"/>
        </a:p>
      </dgm:t>
    </dgm:pt>
    <dgm:pt modelId="{C5464CD1-2A0A-42CF-9EFB-CFBD923C7CDB}">
      <dgm:prSet/>
      <dgm:spPr/>
      <dgm:t>
        <a:bodyPr/>
        <a:lstStyle/>
        <a:p>
          <a:r>
            <a:rPr lang="en-US" baseline="0" dirty="0"/>
            <a:t>Which table, type is fastest to load?</a:t>
          </a:r>
        </a:p>
        <a:p>
          <a:r>
            <a:rPr lang="en-US" baseline="0" dirty="0"/>
            <a:t>Heap / CCI</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55481" custLinFactNeighborY="-19619"/>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3"/>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3_5" csCatId="accent3" phldr="1"/>
      <dgm:spPr/>
      <dgm:t>
        <a:bodyPr/>
        <a:lstStyle/>
        <a:p>
          <a:endParaRPr lang="en-US"/>
        </a:p>
      </dgm:t>
    </dgm:pt>
    <dgm:pt modelId="{C5464CD1-2A0A-42CF-9EFB-CFBD923C7CDB}">
      <dgm:prSet/>
      <dgm:spPr/>
      <dgm:t>
        <a:bodyPr/>
        <a:lstStyle/>
        <a:p>
          <a:r>
            <a:rPr lang="en-US" baseline="0" dirty="0"/>
            <a:t>Which table, type is fastest to query?</a:t>
          </a:r>
        </a:p>
        <a:p>
          <a:r>
            <a:rPr lang="en-US" baseline="0" dirty="0"/>
            <a:t>Heap / CCI</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Y="0"/>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4"/>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15D7514A-7C08-447F-90FE-A0D7F0B09F5D}" type="doc">
      <dgm:prSet loTypeId="urn:microsoft.com/office/officeart/2005/8/layout/hList7" loCatId="list" qsTypeId="urn:microsoft.com/office/officeart/2005/8/quickstyle/simple1" qsCatId="simple" csTypeId="urn:microsoft.com/office/officeart/2005/8/colors/accent2_3" csCatId="accent2" phldr="1"/>
      <dgm:spPr/>
      <dgm:t>
        <a:bodyPr/>
        <a:lstStyle/>
        <a:p>
          <a:endParaRPr lang="en-US"/>
        </a:p>
      </dgm:t>
    </dgm:pt>
    <dgm:pt modelId="{C5464CD1-2A0A-42CF-9EFB-CFBD923C7CDB}">
      <dgm:prSet/>
      <dgm:spPr/>
      <dgm:t>
        <a:bodyPr/>
        <a:lstStyle/>
        <a:p>
          <a:r>
            <a:rPr lang="en-US" baseline="0" dirty="0"/>
            <a:t>Why are #Temp tables faster than regular tables?</a:t>
          </a:r>
          <a:endParaRPr lang="en-US" dirty="0"/>
        </a:p>
      </dgm:t>
    </dgm:pt>
    <dgm:pt modelId="{C8BC66F6-A8A0-4AF0-99C1-FE2287F84733}" type="parTrans" cxnId="{260B3482-722A-499F-81D2-755E44F872EF}">
      <dgm:prSet/>
      <dgm:spPr/>
      <dgm:t>
        <a:bodyPr/>
        <a:lstStyle/>
        <a:p>
          <a:endParaRPr lang="en-US"/>
        </a:p>
      </dgm:t>
    </dgm:pt>
    <dgm:pt modelId="{6D8A3AF1-7EF7-4FC7-97A9-FA9648BBC98E}" type="sibTrans" cxnId="{260B3482-722A-499F-81D2-755E44F872EF}">
      <dgm:prSet/>
      <dgm:spPr/>
      <dgm:t>
        <a:bodyPr/>
        <a:lstStyle/>
        <a:p>
          <a:endParaRPr lang="en-US"/>
        </a:p>
      </dgm:t>
    </dgm:pt>
    <dgm:pt modelId="{7D24EC87-D8C6-4FF2-969A-64CC75CE1C3E}" type="pres">
      <dgm:prSet presAssocID="{15D7514A-7C08-447F-90FE-A0D7F0B09F5D}" presName="Name0" presStyleCnt="0">
        <dgm:presLayoutVars>
          <dgm:dir/>
          <dgm:resizeHandles val="exact"/>
        </dgm:presLayoutVars>
      </dgm:prSet>
      <dgm:spPr/>
    </dgm:pt>
    <dgm:pt modelId="{7D57AAEA-F712-4908-BFFD-EF5C7957D50C}" type="pres">
      <dgm:prSet presAssocID="{15D7514A-7C08-447F-90FE-A0D7F0B09F5D}" presName="fgShape" presStyleLbl="fgShp" presStyleIdx="0" presStyleCnt="1"/>
      <dgm:spPr/>
    </dgm:pt>
    <dgm:pt modelId="{C0E4568F-FDD3-4E21-BFE4-A574E4F99A3C}" type="pres">
      <dgm:prSet presAssocID="{15D7514A-7C08-447F-90FE-A0D7F0B09F5D}" presName="linComp" presStyleCnt="0"/>
      <dgm:spPr/>
    </dgm:pt>
    <dgm:pt modelId="{ADF3ABB9-E180-4553-9A08-D2A8BB638018}" type="pres">
      <dgm:prSet presAssocID="{C5464CD1-2A0A-42CF-9EFB-CFBD923C7CDB}" presName="compNode" presStyleCnt="0"/>
      <dgm:spPr/>
    </dgm:pt>
    <dgm:pt modelId="{D3484CA7-AD12-4081-916F-C9A3873AA432}" type="pres">
      <dgm:prSet presAssocID="{C5464CD1-2A0A-42CF-9EFB-CFBD923C7CDB}" presName="bkgdShape" presStyleLbl="node1" presStyleIdx="0" presStyleCnt="1" custLinFactNeighborX="-2939" custLinFactNeighborY="-1658"/>
      <dgm:spPr/>
    </dgm:pt>
    <dgm:pt modelId="{53B8E334-2FF3-4EE3-84A5-05E0C78358E8}" type="pres">
      <dgm:prSet presAssocID="{C5464CD1-2A0A-42CF-9EFB-CFBD923C7CDB}" presName="nodeTx" presStyleLbl="node1" presStyleIdx="0" presStyleCnt="1">
        <dgm:presLayoutVars>
          <dgm:bulletEnabled val="1"/>
        </dgm:presLayoutVars>
      </dgm:prSet>
      <dgm:spPr/>
    </dgm:pt>
    <dgm:pt modelId="{7F6C8AA9-DF0B-42AE-B5A2-56B5EEFBECB1}" type="pres">
      <dgm:prSet presAssocID="{C5464CD1-2A0A-42CF-9EFB-CFBD923C7CDB}" presName="invisiNode" presStyleLbl="node1" presStyleIdx="0" presStyleCnt="1"/>
      <dgm:spPr/>
    </dgm:pt>
    <dgm:pt modelId="{41B5F4A1-82D4-4720-8B78-273D2F9A3449}" type="pres">
      <dgm:prSet presAssocID="{C5464CD1-2A0A-42CF-9EFB-CFBD923C7CDB}" presName="imagNode"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5"/>
        </a:ext>
      </dgm:extLst>
    </dgm:pt>
  </dgm:ptLst>
  <dgm:cxnLst>
    <dgm:cxn modelId="{98150529-C4E6-4294-BC82-C213DA2D92F0}" type="presOf" srcId="{C5464CD1-2A0A-42CF-9EFB-CFBD923C7CDB}" destId="{53B8E334-2FF3-4EE3-84A5-05E0C78358E8}" srcOrd="1" destOrd="0" presId="urn:microsoft.com/office/officeart/2005/8/layout/hList7"/>
    <dgm:cxn modelId="{260B3482-722A-499F-81D2-755E44F872EF}" srcId="{15D7514A-7C08-447F-90FE-A0D7F0B09F5D}" destId="{C5464CD1-2A0A-42CF-9EFB-CFBD923C7CDB}" srcOrd="0" destOrd="0" parTransId="{C8BC66F6-A8A0-4AF0-99C1-FE2287F84733}" sibTransId="{6D8A3AF1-7EF7-4FC7-97A9-FA9648BBC98E}"/>
    <dgm:cxn modelId="{1A84D695-9418-4A34-9252-780912EC0916}" type="presOf" srcId="{15D7514A-7C08-447F-90FE-A0D7F0B09F5D}" destId="{7D24EC87-D8C6-4FF2-969A-64CC75CE1C3E}" srcOrd="0" destOrd="0" presId="urn:microsoft.com/office/officeart/2005/8/layout/hList7"/>
    <dgm:cxn modelId="{792F58A6-1A35-4044-8716-167BBB7358B6}" type="presOf" srcId="{C5464CD1-2A0A-42CF-9EFB-CFBD923C7CDB}" destId="{D3484CA7-AD12-4081-916F-C9A3873AA432}" srcOrd="0" destOrd="0" presId="urn:microsoft.com/office/officeart/2005/8/layout/hList7"/>
    <dgm:cxn modelId="{F96BB01E-025E-4E83-8702-D7D5ED700488}" type="presParOf" srcId="{7D24EC87-D8C6-4FF2-969A-64CC75CE1C3E}" destId="{7D57AAEA-F712-4908-BFFD-EF5C7957D50C}" srcOrd="0" destOrd="0" presId="urn:microsoft.com/office/officeart/2005/8/layout/hList7"/>
    <dgm:cxn modelId="{D69E788C-DAB7-456A-B9E1-ED7D53B7DC63}" type="presParOf" srcId="{7D24EC87-D8C6-4FF2-969A-64CC75CE1C3E}" destId="{C0E4568F-FDD3-4E21-BFE4-A574E4F99A3C}" srcOrd="1" destOrd="0" presId="urn:microsoft.com/office/officeart/2005/8/layout/hList7"/>
    <dgm:cxn modelId="{7D5BC156-A300-4C83-9703-23D15090DEA8}" type="presParOf" srcId="{C0E4568F-FDD3-4E21-BFE4-A574E4F99A3C}" destId="{ADF3ABB9-E180-4553-9A08-D2A8BB638018}" srcOrd="0" destOrd="0" presId="urn:microsoft.com/office/officeart/2005/8/layout/hList7"/>
    <dgm:cxn modelId="{4C47DBA1-E9B5-4B3A-89FC-72C8E2517DB6}" type="presParOf" srcId="{ADF3ABB9-E180-4553-9A08-D2A8BB638018}" destId="{D3484CA7-AD12-4081-916F-C9A3873AA432}" srcOrd="0" destOrd="0" presId="urn:microsoft.com/office/officeart/2005/8/layout/hList7"/>
    <dgm:cxn modelId="{78673A11-417E-4429-A99D-05712DF0BD80}" type="presParOf" srcId="{ADF3ABB9-E180-4553-9A08-D2A8BB638018}" destId="{53B8E334-2FF3-4EE3-84A5-05E0C78358E8}" srcOrd="1" destOrd="0" presId="urn:microsoft.com/office/officeart/2005/8/layout/hList7"/>
    <dgm:cxn modelId="{51B718B6-8FF3-4E50-A952-F5BD41F3B23D}" type="presParOf" srcId="{ADF3ABB9-E180-4553-9A08-D2A8BB638018}" destId="{7F6C8AA9-DF0B-42AE-B5A2-56B5EEFBECB1}" srcOrd="2" destOrd="0" presId="urn:microsoft.com/office/officeart/2005/8/layout/hList7"/>
    <dgm:cxn modelId="{4A7536A9-1A06-4001-BAE7-1B938A3B3420}" type="presParOf" srcId="{ADF3ABB9-E180-4553-9A08-D2A8BB638018}" destId="{41B5F4A1-82D4-4720-8B78-273D2F9A3449}" srcOrd="3" destOrd="0" presId="urn:microsoft.com/office/officeart/2005/8/layout/hList7"/>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759EDFF-4C81-4955-B7E6-8C036276A98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E11746D8-D4CF-4956-8B87-2EEA6A6B4ABE}">
      <dgm:prSet custT="1"/>
      <dgm:spPr/>
      <dgm:t>
        <a:bodyPr/>
        <a:lstStyle/>
        <a:p>
          <a:r>
            <a:rPr lang="en-US" sz="3200" baseline="0" dirty="0"/>
            <a:t>High CPU Utilization</a:t>
          </a:r>
          <a:endParaRPr lang="en-US" sz="3200" dirty="0"/>
        </a:p>
      </dgm:t>
    </dgm:pt>
    <dgm:pt modelId="{BA881F2C-1CBE-46F0-B49C-346993D927E1}" type="parTrans" cxnId="{E582B7BB-2994-4B8A-BCEE-D0BC9DB94BE6}">
      <dgm:prSet/>
      <dgm:spPr/>
      <dgm:t>
        <a:bodyPr/>
        <a:lstStyle/>
        <a:p>
          <a:endParaRPr lang="en-US"/>
        </a:p>
      </dgm:t>
    </dgm:pt>
    <dgm:pt modelId="{0D79D839-1337-409D-83F3-503412CBC72B}" type="sibTrans" cxnId="{E582B7BB-2994-4B8A-BCEE-D0BC9DB94BE6}">
      <dgm:prSet/>
      <dgm:spPr/>
      <dgm:t>
        <a:bodyPr/>
        <a:lstStyle/>
        <a:p>
          <a:endParaRPr lang="en-US"/>
        </a:p>
      </dgm:t>
    </dgm:pt>
    <dgm:pt modelId="{B4210966-F769-4CB0-8730-D3C7CDFC979C}">
      <dgm:prSet custT="1"/>
      <dgm:spPr/>
      <dgm:t>
        <a:bodyPr/>
        <a:lstStyle/>
        <a:p>
          <a:r>
            <a:rPr lang="en-US" sz="2000" baseline="0" dirty="0"/>
            <a:t>Heavy query step execution</a:t>
          </a:r>
          <a:endParaRPr lang="en-US" sz="2000" dirty="0"/>
        </a:p>
      </dgm:t>
    </dgm:pt>
    <dgm:pt modelId="{61C1889C-9440-49FE-B601-4C20BBEFBAB7}" type="parTrans" cxnId="{607D6C61-BC58-4DC8-8705-C5B37E706A33}">
      <dgm:prSet/>
      <dgm:spPr/>
      <dgm:t>
        <a:bodyPr/>
        <a:lstStyle/>
        <a:p>
          <a:endParaRPr lang="en-US"/>
        </a:p>
      </dgm:t>
    </dgm:pt>
    <dgm:pt modelId="{6185E83C-AE63-409D-A45D-544058337702}" type="sibTrans" cxnId="{607D6C61-BC58-4DC8-8705-C5B37E706A33}">
      <dgm:prSet/>
      <dgm:spPr/>
      <dgm:t>
        <a:bodyPr/>
        <a:lstStyle/>
        <a:p>
          <a:endParaRPr lang="en-US"/>
        </a:p>
      </dgm:t>
    </dgm:pt>
    <dgm:pt modelId="{5F57AB68-9617-4B91-A22B-30DCDF2FFB47}">
      <dgm:prSet custT="1"/>
      <dgm:spPr/>
      <dgm:t>
        <a:bodyPr/>
        <a:lstStyle/>
        <a:p>
          <a:r>
            <a:rPr lang="en-US" sz="3200" baseline="0" dirty="0"/>
            <a:t>TempDB</a:t>
          </a:r>
          <a:endParaRPr lang="en-US" sz="3200" dirty="0"/>
        </a:p>
      </dgm:t>
    </dgm:pt>
    <dgm:pt modelId="{D432CC6F-58D3-4918-B3EF-885151FC1323}" type="parTrans" cxnId="{97FC42B1-386F-4647-975B-17C3C2428322}">
      <dgm:prSet/>
      <dgm:spPr/>
      <dgm:t>
        <a:bodyPr/>
        <a:lstStyle/>
        <a:p>
          <a:endParaRPr lang="en-US"/>
        </a:p>
      </dgm:t>
    </dgm:pt>
    <dgm:pt modelId="{BC7BEC5B-9F54-40BE-A884-BAFBC3EDC88B}" type="sibTrans" cxnId="{97FC42B1-386F-4647-975B-17C3C2428322}">
      <dgm:prSet/>
      <dgm:spPr/>
      <dgm:t>
        <a:bodyPr/>
        <a:lstStyle/>
        <a:p>
          <a:endParaRPr lang="en-US"/>
        </a:p>
      </dgm:t>
    </dgm:pt>
    <dgm:pt modelId="{6398E72D-66BC-4289-BEB3-BAA8F34507A7}">
      <dgm:prSet custT="1"/>
      <dgm:spPr/>
      <dgm:t>
        <a:bodyPr/>
        <a:lstStyle/>
        <a:p>
          <a:r>
            <a:rPr lang="en-US" sz="2000" baseline="0" dirty="0"/>
            <a:t>Large data movement</a:t>
          </a:r>
          <a:endParaRPr lang="en-US" sz="2000" dirty="0"/>
        </a:p>
      </dgm:t>
    </dgm:pt>
    <dgm:pt modelId="{486AB0C8-268C-4AC6-A2BC-F9ECBC5B6909}" type="parTrans" cxnId="{E209B07E-AA7D-4EA4-A9BA-07282D88535A}">
      <dgm:prSet/>
      <dgm:spPr/>
      <dgm:t>
        <a:bodyPr/>
        <a:lstStyle/>
        <a:p>
          <a:endParaRPr lang="en-US"/>
        </a:p>
      </dgm:t>
    </dgm:pt>
    <dgm:pt modelId="{EAE95D16-80E6-4412-8A69-D6B9D124C0C9}" type="sibTrans" cxnId="{E209B07E-AA7D-4EA4-A9BA-07282D88535A}">
      <dgm:prSet/>
      <dgm:spPr/>
      <dgm:t>
        <a:bodyPr/>
        <a:lstStyle/>
        <a:p>
          <a:endParaRPr lang="en-US"/>
        </a:p>
      </dgm:t>
    </dgm:pt>
    <dgm:pt modelId="{78B8DEFE-6EB5-4D91-8E22-08B34308B29E}">
      <dgm:prSet custT="1"/>
      <dgm:spPr/>
      <dgm:t>
        <a:bodyPr/>
        <a:lstStyle/>
        <a:p>
          <a:r>
            <a:rPr lang="en-US" sz="3200" baseline="0" dirty="0"/>
            <a:t>Queued Queries</a:t>
          </a:r>
          <a:endParaRPr lang="en-US" sz="3200" dirty="0"/>
        </a:p>
      </dgm:t>
    </dgm:pt>
    <dgm:pt modelId="{232CA8A7-FBE4-4837-87A3-08BDAF43BBC4}" type="parTrans" cxnId="{415E48CA-25D0-44F6-A0EC-A8EBF8986506}">
      <dgm:prSet/>
      <dgm:spPr/>
      <dgm:t>
        <a:bodyPr/>
        <a:lstStyle/>
        <a:p>
          <a:endParaRPr lang="en-US"/>
        </a:p>
      </dgm:t>
    </dgm:pt>
    <dgm:pt modelId="{9579FDE0-4EB7-4E1F-8AED-33DD3E0C17E7}" type="sibTrans" cxnId="{415E48CA-25D0-44F6-A0EC-A8EBF8986506}">
      <dgm:prSet/>
      <dgm:spPr/>
      <dgm:t>
        <a:bodyPr/>
        <a:lstStyle/>
        <a:p>
          <a:endParaRPr lang="en-US"/>
        </a:p>
      </dgm:t>
    </dgm:pt>
    <dgm:pt modelId="{9A168DAB-E8D6-4A21-8FA0-7D978BBCA7CC}">
      <dgm:prSet custT="1"/>
      <dgm:spPr/>
      <dgm:t>
        <a:bodyPr/>
        <a:lstStyle/>
        <a:p>
          <a:r>
            <a:rPr lang="en-US" sz="2000" baseline="0" dirty="0"/>
            <a:t>Concurrency</a:t>
          </a:r>
          <a:endParaRPr lang="en-US" sz="2000" dirty="0"/>
        </a:p>
      </dgm:t>
    </dgm:pt>
    <dgm:pt modelId="{2AC4AED7-7FAE-41A8-A81A-9D90744776E8}" type="parTrans" cxnId="{8C6CC2B3-590B-4B33-A6C7-CC1CBDD6894E}">
      <dgm:prSet/>
      <dgm:spPr/>
      <dgm:t>
        <a:bodyPr/>
        <a:lstStyle/>
        <a:p>
          <a:endParaRPr lang="en-US"/>
        </a:p>
      </dgm:t>
    </dgm:pt>
    <dgm:pt modelId="{F45E8F58-11C5-49AC-B2E0-979E7845EBB0}" type="sibTrans" cxnId="{8C6CC2B3-590B-4B33-A6C7-CC1CBDD6894E}">
      <dgm:prSet/>
      <dgm:spPr/>
      <dgm:t>
        <a:bodyPr/>
        <a:lstStyle/>
        <a:p>
          <a:endParaRPr lang="en-US"/>
        </a:p>
      </dgm:t>
    </dgm:pt>
    <dgm:pt modelId="{58A3C67C-CCEA-4017-B74F-4EB6321B1F70}">
      <dgm:prSet custT="1"/>
      <dgm:spPr/>
      <dgm:t>
        <a:bodyPr/>
        <a:lstStyle/>
        <a:p>
          <a:r>
            <a:rPr lang="en-US" sz="2000" baseline="0" dirty="0"/>
            <a:t>Can be impacted by shortage of other resources</a:t>
          </a:r>
          <a:endParaRPr lang="en-US" sz="2000" dirty="0"/>
        </a:p>
      </dgm:t>
    </dgm:pt>
    <dgm:pt modelId="{2F357D05-64F8-40C4-9907-EC4DFA83DC18}" type="parTrans" cxnId="{002D1BA6-33CB-49B1-A37C-F1FDABAB84CB}">
      <dgm:prSet/>
      <dgm:spPr/>
      <dgm:t>
        <a:bodyPr/>
        <a:lstStyle/>
        <a:p>
          <a:endParaRPr lang="en-US"/>
        </a:p>
      </dgm:t>
    </dgm:pt>
    <dgm:pt modelId="{A29C54DB-A087-4538-8A45-F7625461BD03}" type="sibTrans" cxnId="{002D1BA6-33CB-49B1-A37C-F1FDABAB84CB}">
      <dgm:prSet/>
      <dgm:spPr/>
      <dgm:t>
        <a:bodyPr/>
        <a:lstStyle/>
        <a:p>
          <a:endParaRPr lang="en-US"/>
        </a:p>
      </dgm:t>
    </dgm:pt>
    <dgm:pt modelId="{B103EC47-4F4E-40EE-97F5-2258C24F991B}">
      <dgm:prSet custT="1"/>
      <dgm:spPr/>
      <dgm:t>
        <a:bodyPr/>
        <a:lstStyle/>
        <a:p>
          <a:r>
            <a:rPr lang="en-US" sz="2000" dirty="0"/>
            <a:t>Check CPU-intensive operations , CASE statements, data type conversions</a:t>
          </a:r>
        </a:p>
      </dgm:t>
    </dgm:pt>
    <dgm:pt modelId="{E75E08F1-3D56-4ECA-A091-CB0C108104E5}" type="parTrans" cxnId="{44B2867A-E59D-492A-93B8-042B1B17E92E}">
      <dgm:prSet/>
      <dgm:spPr/>
      <dgm:t>
        <a:bodyPr/>
        <a:lstStyle/>
        <a:p>
          <a:endParaRPr lang="en-US"/>
        </a:p>
      </dgm:t>
    </dgm:pt>
    <dgm:pt modelId="{66B44AC9-07D1-4157-A655-6BBFA96EF1FC}" type="sibTrans" cxnId="{44B2867A-E59D-492A-93B8-042B1B17E92E}">
      <dgm:prSet/>
      <dgm:spPr/>
      <dgm:t>
        <a:bodyPr/>
        <a:lstStyle/>
        <a:p>
          <a:endParaRPr lang="en-US"/>
        </a:p>
      </dgm:t>
    </dgm:pt>
    <dgm:pt modelId="{33D1DF31-611C-4DCE-BD98-71F6D86BE5D2}">
      <dgm:prSet custT="1"/>
      <dgm:spPr/>
      <dgm:t>
        <a:bodyPr/>
        <a:lstStyle/>
        <a:p>
          <a:r>
            <a:rPr lang="en-US" sz="2000" dirty="0"/>
            <a:t>A large broadcast is more impactful than a large shuffle</a:t>
          </a:r>
        </a:p>
      </dgm:t>
    </dgm:pt>
    <dgm:pt modelId="{179B538E-F050-4149-AC5F-BD99176E5A08}" type="parTrans" cxnId="{4269CAC7-B969-469E-B91E-19D988573611}">
      <dgm:prSet/>
      <dgm:spPr/>
      <dgm:t>
        <a:bodyPr/>
        <a:lstStyle/>
        <a:p>
          <a:endParaRPr lang="en-US"/>
        </a:p>
      </dgm:t>
    </dgm:pt>
    <dgm:pt modelId="{83881B54-4642-44A9-84F5-873E48B88215}" type="sibTrans" cxnId="{4269CAC7-B969-469E-B91E-19D988573611}">
      <dgm:prSet/>
      <dgm:spPr/>
      <dgm:t>
        <a:bodyPr/>
        <a:lstStyle/>
        <a:p>
          <a:endParaRPr lang="en-US"/>
        </a:p>
      </dgm:t>
    </dgm:pt>
    <dgm:pt modelId="{2880B92C-4FFC-411F-86A4-91F256016CFF}" type="pres">
      <dgm:prSet presAssocID="{3759EDFF-4C81-4955-B7E6-8C036276A984}" presName="linear" presStyleCnt="0">
        <dgm:presLayoutVars>
          <dgm:animLvl val="lvl"/>
          <dgm:resizeHandles val="exact"/>
        </dgm:presLayoutVars>
      </dgm:prSet>
      <dgm:spPr/>
    </dgm:pt>
    <dgm:pt modelId="{AFF9AE46-4FFA-4279-A04A-4273ADB97192}" type="pres">
      <dgm:prSet presAssocID="{E11746D8-D4CF-4956-8B87-2EEA6A6B4ABE}" presName="parentText" presStyleLbl="node1" presStyleIdx="0" presStyleCnt="3">
        <dgm:presLayoutVars>
          <dgm:chMax val="0"/>
          <dgm:bulletEnabled val="1"/>
        </dgm:presLayoutVars>
      </dgm:prSet>
      <dgm:spPr/>
    </dgm:pt>
    <dgm:pt modelId="{AA76FD53-F180-420E-9C3E-4B190F876AAF}" type="pres">
      <dgm:prSet presAssocID="{E11746D8-D4CF-4956-8B87-2EEA6A6B4ABE}" presName="childText" presStyleLbl="revTx" presStyleIdx="0" presStyleCnt="3">
        <dgm:presLayoutVars>
          <dgm:bulletEnabled val="1"/>
        </dgm:presLayoutVars>
      </dgm:prSet>
      <dgm:spPr/>
    </dgm:pt>
    <dgm:pt modelId="{C02E8E93-B9AC-48AA-B3F3-689B88FF7A86}" type="pres">
      <dgm:prSet presAssocID="{5F57AB68-9617-4B91-A22B-30DCDF2FFB47}" presName="parentText" presStyleLbl="node1" presStyleIdx="1" presStyleCnt="3">
        <dgm:presLayoutVars>
          <dgm:chMax val="0"/>
          <dgm:bulletEnabled val="1"/>
        </dgm:presLayoutVars>
      </dgm:prSet>
      <dgm:spPr/>
    </dgm:pt>
    <dgm:pt modelId="{F7897512-1DB9-47A5-B520-3298989570A6}" type="pres">
      <dgm:prSet presAssocID="{5F57AB68-9617-4B91-A22B-30DCDF2FFB47}" presName="childText" presStyleLbl="revTx" presStyleIdx="1" presStyleCnt="3">
        <dgm:presLayoutVars>
          <dgm:bulletEnabled val="1"/>
        </dgm:presLayoutVars>
      </dgm:prSet>
      <dgm:spPr/>
    </dgm:pt>
    <dgm:pt modelId="{A2025374-3A7D-49BF-B179-1AB224BB6288}" type="pres">
      <dgm:prSet presAssocID="{78B8DEFE-6EB5-4D91-8E22-08B34308B29E}" presName="parentText" presStyleLbl="node1" presStyleIdx="2" presStyleCnt="3">
        <dgm:presLayoutVars>
          <dgm:chMax val="0"/>
          <dgm:bulletEnabled val="1"/>
        </dgm:presLayoutVars>
      </dgm:prSet>
      <dgm:spPr/>
    </dgm:pt>
    <dgm:pt modelId="{417DA507-04BB-4011-8610-49C9FABD932B}" type="pres">
      <dgm:prSet presAssocID="{78B8DEFE-6EB5-4D91-8E22-08B34308B29E}" presName="childText" presStyleLbl="revTx" presStyleIdx="2" presStyleCnt="3">
        <dgm:presLayoutVars>
          <dgm:bulletEnabled val="1"/>
        </dgm:presLayoutVars>
      </dgm:prSet>
      <dgm:spPr/>
    </dgm:pt>
  </dgm:ptLst>
  <dgm:cxnLst>
    <dgm:cxn modelId="{9A02BA17-7987-429C-BFF8-A3CBEE543F5E}" type="presOf" srcId="{58A3C67C-CCEA-4017-B74F-4EB6321B1F70}" destId="{417DA507-04BB-4011-8610-49C9FABD932B}" srcOrd="0" destOrd="1" presId="urn:microsoft.com/office/officeart/2005/8/layout/vList2"/>
    <dgm:cxn modelId="{2291AA30-DCE1-465A-B236-4FDA73AD149E}" type="presOf" srcId="{78B8DEFE-6EB5-4D91-8E22-08B34308B29E}" destId="{A2025374-3A7D-49BF-B179-1AB224BB6288}" srcOrd="0" destOrd="0" presId="urn:microsoft.com/office/officeart/2005/8/layout/vList2"/>
    <dgm:cxn modelId="{607D6C61-BC58-4DC8-8705-C5B37E706A33}" srcId="{E11746D8-D4CF-4956-8B87-2EEA6A6B4ABE}" destId="{B4210966-F769-4CB0-8730-D3C7CDFC979C}" srcOrd="0" destOrd="0" parTransId="{61C1889C-9440-49FE-B601-4C20BBEFBAB7}" sibTransId="{6185E83C-AE63-409D-A45D-544058337702}"/>
    <dgm:cxn modelId="{9CD33B63-C42C-40FC-A7DA-B26C05644D9C}" type="presOf" srcId="{3759EDFF-4C81-4955-B7E6-8C036276A984}" destId="{2880B92C-4FFC-411F-86A4-91F256016CFF}" srcOrd="0" destOrd="0" presId="urn:microsoft.com/office/officeart/2005/8/layout/vList2"/>
    <dgm:cxn modelId="{9BEFB764-F421-4D6A-967E-7EBABCC4D7DC}" type="presOf" srcId="{6398E72D-66BC-4289-BEB3-BAA8F34507A7}" destId="{F7897512-1DB9-47A5-B520-3298989570A6}" srcOrd="0" destOrd="0" presId="urn:microsoft.com/office/officeart/2005/8/layout/vList2"/>
    <dgm:cxn modelId="{FA916558-CED4-4F29-B69E-3E34AC4AE430}" type="presOf" srcId="{B103EC47-4F4E-40EE-97F5-2258C24F991B}" destId="{AA76FD53-F180-420E-9C3E-4B190F876AAF}" srcOrd="0" destOrd="1" presId="urn:microsoft.com/office/officeart/2005/8/layout/vList2"/>
    <dgm:cxn modelId="{8698827A-E9A4-40DB-960B-A32FEBAEB03B}" type="presOf" srcId="{33D1DF31-611C-4DCE-BD98-71F6D86BE5D2}" destId="{F7897512-1DB9-47A5-B520-3298989570A6}" srcOrd="0" destOrd="1" presId="urn:microsoft.com/office/officeart/2005/8/layout/vList2"/>
    <dgm:cxn modelId="{44B2867A-E59D-492A-93B8-042B1B17E92E}" srcId="{E11746D8-D4CF-4956-8B87-2EEA6A6B4ABE}" destId="{B103EC47-4F4E-40EE-97F5-2258C24F991B}" srcOrd="1" destOrd="0" parTransId="{E75E08F1-3D56-4ECA-A091-CB0C108104E5}" sibTransId="{66B44AC9-07D1-4157-A655-6BBFA96EF1FC}"/>
    <dgm:cxn modelId="{E209B07E-AA7D-4EA4-A9BA-07282D88535A}" srcId="{5F57AB68-9617-4B91-A22B-30DCDF2FFB47}" destId="{6398E72D-66BC-4289-BEB3-BAA8F34507A7}" srcOrd="0" destOrd="0" parTransId="{486AB0C8-268C-4AC6-A2BC-F9ECBC5B6909}" sibTransId="{EAE95D16-80E6-4412-8A69-D6B9D124C0C9}"/>
    <dgm:cxn modelId="{002D1BA6-33CB-49B1-A37C-F1FDABAB84CB}" srcId="{78B8DEFE-6EB5-4D91-8E22-08B34308B29E}" destId="{58A3C67C-CCEA-4017-B74F-4EB6321B1F70}" srcOrd="1" destOrd="0" parTransId="{2F357D05-64F8-40C4-9907-EC4DFA83DC18}" sibTransId="{A29C54DB-A087-4538-8A45-F7625461BD03}"/>
    <dgm:cxn modelId="{97FC42B1-386F-4647-975B-17C3C2428322}" srcId="{3759EDFF-4C81-4955-B7E6-8C036276A984}" destId="{5F57AB68-9617-4B91-A22B-30DCDF2FFB47}" srcOrd="1" destOrd="0" parTransId="{D432CC6F-58D3-4918-B3EF-885151FC1323}" sibTransId="{BC7BEC5B-9F54-40BE-A884-BAFBC3EDC88B}"/>
    <dgm:cxn modelId="{8C6CC2B3-590B-4B33-A6C7-CC1CBDD6894E}" srcId="{78B8DEFE-6EB5-4D91-8E22-08B34308B29E}" destId="{9A168DAB-E8D6-4A21-8FA0-7D978BBCA7CC}" srcOrd="0" destOrd="0" parTransId="{2AC4AED7-7FAE-41A8-A81A-9D90744776E8}" sibTransId="{F45E8F58-11C5-49AC-B2E0-979E7845EBB0}"/>
    <dgm:cxn modelId="{CA6B29B9-E826-4834-BF18-A399FA9783A9}" type="presOf" srcId="{B4210966-F769-4CB0-8730-D3C7CDFC979C}" destId="{AA76FD53-F180-420E-9C3E-4B190F876AAF}" srcOrd="0" destOrd="0" presId="urn:microsoft.com/office/officeart/2005/8/layout/vList2"/>
    <dgm:cxn modelId="{E582B7BB-2994-4B8A-BCEE-D0BC9DB94BE6}" srcId="{3759EDFF-4C81-4955-B7E6-8C036276A984}" destId="{E11746D8-D4CF-4956-8B87-2EEA6A6B4ABE}" srcOrd="0" destOrd="0" parTransId="{BA881F2C-1CBE-46F0-B49C-346993D927E1}" sibTransId="{0D79D839-1337-409D-83F3-503412CBC72B}"/>
    <dgm:cxn modelId="{FDCE46C7-7702-4934-B82C-452A41A8682C}" type="presOf" srcId="{9A168DAB-E8D6-4A21-8FA0-7D978BBCA7CC}" destId="{417DA507-04BB-4011-8610-49C9FABD932B}" srcOrd="0" destOrd="0" presId="urn:microsoft.com/office/officeart/2005/8/layout/vList2"/>
    <dgm:cxn modelId="{4269CAC7-B969-469E-B91E-19D988573611}" srcId="{5F57AB68-9617-4B91-A22B-30DCDF2FFB47}" destId="{33D1DF31-611C-4DCE-BD98-71F6D86BE5D2}" srcOrd="1" destOrd="0" parTransId="{179B538E-F050-4149-AC5F-BD99176E5A08}" sibTransId="{83881B54-4642-44A9-84F5-873E48B88215}"/>
    <dgm:cxn modelId="{BA2666C8-DC46-448C-915B-65A967631702}" type="presOf" srcId="{5F57AB68-9617-4B91-A22B-30DCDF2FFB47}" destId="{C02E8E93-B9AC-48AA-B3F3-689B88FF7A86}" srcOrd="0" destOrd="0" presId="urn:microsoft.com/office/officeart/2005/8/layout/vList2"/>
    <dgm:cxn modelId="{2E1B5BCA-A151-43A5-9DF6-05DCE601FE43}" type="presOf" srcId="{E11746D8-D4CF-4956-8B87-2EEA6A6B4ABE}" destId="{AFF9AE46-4FFA-4279-A04A-4273ADB97192}" srcOrd="0" destOrd="0" presId="urn:microsoft.com/office/officeart/2005/8/layout/vList2"/>
    <dgm:cxn modelId="{415E48CA-25D0-44F6-A0EC-A8EBF8986506}" srcId="{3759EDFF-4C81-4955-B7E6-8C036276A984}" destId="{78B8DEFE-6EB5-4D91-8E22-08B34308B29E}" srcOrd="2" destOrd="0" parTransId="{232CA8A7-FBE4-4837-87A3-08BDAF43BBC4}" sibTransId="{9579FDE0-4EB7-4E1F-8AED-33DD3E0C17E7}"/>
    <dgm:cxn modelId="{3511BDE5-1376-4D17-830E-37862725F472}" type="presParOf" srcId="{2880B92C-4FFC-411F-86A4-91F256016CFF}" destId="{AFF9AE46-4FFA-4279-A04A-4273ADB97192}" srcOrd="0" destOrd="0" presId="urn:microsoft.com/office/officeart/2005/8/layout/vList2"/>
    <dgm:cxn modelId="{44B5B3C1-A96D-4562-ADA7-0E150DFB08B4}" type="presParOf" srcId="{2880B92C-4FFC-411F-86A4-91F256016CFF}" destId="{AA76FD53-F180-420E-9C3E-4B190F876AAF}" srcOrd="1" destOrd="0" presId="urn:microsoft.com/office/officeart/2005/8/layout/vList2"/>
    <dgm:cxn modelId="{B3889F18-75BD-438D-A7A5-D6A7940EF9D7}" type="presParOf" srcId="{2880B92C-4FFC-411F-86A4-91F256016CFF}" destId="{C02E8E93-B9AC-48AA-B3F3-689B88FF7A86}" srcOrd="2" destOrd="0" presId="urn:microsoft.com/office/officeart/2005/8/layout/vList2"/>
    <dgm:cxn modelId="{5D7DCBBB-2B2F-489A-BC03-15B7CC81E27D}" type="presParOf" srcId="{2880B92C-4FFC-411F-86A4-91F256016CFF}" destId="{F7897512-1DB9-47A5-B520-3298989570A6}" srcOrd="3" destOrd="0" presId="urn:microsoft.com/office/officeart/2005/8/layout/vList2"/>
    <dgm:cxn modelId="{725B719F-12CD-4061-8320-85524C5FEB42}" type="presParOf" srcId="{2880B92C-4FFC-411F-86A4-91F256016CFF}" destId="{A2025374-3A7D-49BF-B179-1AB224BB6288}" srcOrd="4" destOrd="0" presId="urn:microsoft.com/office/officeart/2005/8/layout/vList2"/>
    <dgm:cxn modelId="{690CBDDE-3658-41BE-9341-2EBE33116C8F}" type="presParOf" srcId="{2880B92C-4FFC-411F-86A4-91F256016CFF}" destId="{417DA507-04BB-4011-8610-49C9FABD932B}"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7209750-14B7-4829-9A5E-353441A67F28}"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77627F76-004F-4232-B0F5-C807D225BE9A}">
      <dgm:prSet custT="1"/>
      <dgm:spPr/>
      <dgm:t>
        <a:bodyPr/>
        <a:lstStyle/>
        <a:p>
          <a:r>
            <a:rPr lang="en-US" sz="3200" baseline="0" dirty="0"/>
            <a:t>Overall query execution time</a:t>
          </a:r>
          <a:endParaRPr lang="en-US" sz="3200" dirty="0"/>
        </a:p>
      </dgm:t>
    </dgm:pt>
    <dgm:pt modelId="{B6D18312-E335-4528-8A37-33D326DBC6A4}" type="parTrans" cxnId="{B0563C55-EC5A-4844-B845-13033B36A6C0}">
      <dgm:prSet/>
      <dgm:spPr/>
      <dgm:t>
        <a:bodyPr/>
        <a:lstStyle/>
        <a:p>
          <a:endParaRPr lang="en-US"/>
        </a:p>
      </dgm:t>
    </dgm:pt>
    <dgm:pt modelId="{F06F1B6C-2C20-4E46-A437-C92771174651}" type="sibTrans" cxnId="{B0563C55-EC5A-4844-B845-13033B36A6C0}">
      <dgm:prSet/>
      <dgm:spPr/>
      <dgm:t>
        <a:bodyPr/>
        <a:lstStyle/>
        <a:p>
          <a:endParaRPr lang="en-US"/>
        </a:p>
      </dgm:t>
    </dgm:pt>
    <dgm:pt modelId="{58EF2A53-3A44-4C8B-B2A4-FC48133AB620}">
      <dgm:prSet/>
      <dgm:spPr/>
      <dgm:t>
        <a:bodyPr/>
        <a:lstStyle/>
        <a:p>
          <a:r>
            <a:rPr lang="en-US" sz="2200" baseline="0" dirty="0"/>
            <a:t>Check queue/plan generation time</a:t>
          </a:r>
          <a:endParaRPr lang="en-US" sz="2200" dirty="0"/>
        </a:p>
      </dgm:t>
    </dgm:pt>
    <dgm:pt modelId="{58518562-9D7B-493B-B41A-B9962A58B965}" type="parTrans" cxnId="{3EBCA9A5-62D7-4801-9865-8AB08C2F1D59}">
      <dgm:prSet/>
      <dgm:spPr/>
      <dgm:t>
        <a:bodyPr/>
        <a:lstStyle/>
        <a:p>
          <a:endParaRPr lang="en-US"/>
        </a:p>
      </dgm:t>
    </dgm:pt>
    <dgm:pt modelId="{98028636-D439-4277-997F-B1AE5DF15B5D}" type="sibTrans" cxnId="{3EBCA9A5-62D7-4801-9865-8AB08C2F1D59}">
      <dgm:prSet/>
      <dgm:spPr/>
      <dgm:t>
        <a:bodyPr/>
        <a:lstStyle/>
        <a:p>
          <a:endParaRPr lang="en-US"/>
        </a:p>
      </dgm:t>
    </dgm:pt>
    <dgm:pt modelId="{9994522F-A557-4F01-97FB-A8E82BB1332D}">
      <dgm:prSet/>
      <dgm:spPr/>
      <dgm:t>
        <a:bodyPr/>
        <a:lstStyle/>
        <a:p>
          <a:r>
            <a:rPr lang="en-US" sz="2200" baseline="0" dirty="0"/>
            <a:t>Not always a useful metric: </a:t>
          </a:r>
          <a:endParaRPr lang="en-US" sz="2200" dirty="0"/>
        </a:p>
      </dgm:t>
    </dgm:pt>
    <dgm:pt modelId="{331F70EC-166D-44C1-AE61-63FFC2D5250C}" type="parTrans" cxnId="{D623403D-7DF7-441D-A057-4F7C1D5851CB}">
      <dgm:prSet/>
      <dgm:spPr/>
      <dgm:t>
        <a:bodyPr/>
        <a:lstStyle/>
        <a:p>
          <a:endParaRPr lang="en-US"/>
        </a:p>
      </dgm:t>
    </dgm:pt>
    <dgm:pt modelId="{916B2FDC-5144-4C59-BA3E-15866A679F39}" type="sibTrans" cxnId="{D623403D-7DF7-441D-A057-4F7C1D5851CB}">
      <dgm:prSet/>
      <dgm:spPr/>
      <dgm:t>
        <a:bodyPr/>
        <a:lstStyle/>
        <a:p>
          <a:endParaRPr lang="en-US"/>
        </a:p>
      </dgm:t>
    </dgm:pt>
    <dgm:pt modelId="{12E29C04-1381-457F-958E-C6A660A17E6D}">
      <dgm:prSet custT="1"/>
      <dgm:spPr/>
      <dgm:t>
        <a:bodyPr/>
        <a:lstStyle/>
        <a:p>
          <a:r>
            <a:rPr lang="en-US" sz="2000" baseline="0" dirty="0"/>
            <a:t>Batches</a:t>
          </a:r>
          <a:endParaRPr lang="en-US" sz="2000" dirty="0"/>
        </a:p>
      </dgm:t>
    </dgm:pt>
    <dgm:pt modelId="{FAECE9F8-7216-42A3-AF08-B075925FF978}" type="parTrans" cxnId="{CB3D2F13-E973-490A-BE5F-EFBD199E0BD4}">
      <dgm:prSet/>
      <dgm:spPr/>
      <dgm:t>
        <a:bodyPr/>
        <a:lstStyle/>
        <a:p>
          <a:endParaRPr lang="en-US"/>
        </a:p>
      </dgm:t>
    </dgm:pt>
    <dgm:pt modelId="{1195E2BB-9507-46AD-B900-CA3F17338CC8}" type="sibTrans" cxnId="{CB3D2F13-E973-490A-BE5F-EFBD199E0BD4}">
      <dgm:prSet/>
      <dgm:spPr/>
      <dgm:t>
        <a:bodyPr/>
        <a:lstStyle/>
        <a:p>
          <a:endParaRPr lang="en-US"/>
        </a:p>
      </dgm:t>
    </dgm:pt>
    <dgm:pt modelId="{3D66C1AD-6E87-4548-85D3-0EBEE0E0786A}">
      <dgm:prSet custT="1"/>
      <dgm:spPr/>
      <dgm:t>
        <a:bodyPr/>
        <a:lstStyle/>
        <a:p>
          <a:r>
            <a:rPr lang="en-US" sz="2000" baseline="0" dirty="0"/>
            <a:t>Multi-step plans</a:t>
          </a:r>
          <a:endParaRPr lang="en-US" sz="2000" dirty="0"/>
        </a:p>
      </dgm:t>
    </dgm:pt>
    <dgm:pt modelId="{B877D66F-289C-49A4-B26A-5826A8DB79DB}" type="parTrans" cxnId="{D5CE7B58-2CBC-4CA6-A0D0-75BFB377F2FD}">
      <dgm:prSet/>
      <dgm:spPr/>
      <dgm:t>
        <a:bodyPr/>
        <a:lstStyle/>
        <a:p>
          <a:endParaRPr lang="en-US"/>
        </a:p>
      </dgm:t>
    </dgm:pt>
    <dgm:pt modelId="{43722381-D9B8-46AC-B49C-1AC998034759}" type="sibTrans" cxnId="{D5CE7B58-2CBC-4CA6-A0D0-75BFB377F2FD}">
      <dgm:prSet/>
      <dgm:spPr/>
      <dgm:t>
        <a:bodyPr/>
        <a:lstStyle/>
        <a:p>
          <a:endParaRPr lang="en-US"/>
        </a:p>
      </dgm:t>
    </dgm:pt>
    <dgm:pt modelId="{DB9101C0-F438-4C57-AAA1-50579E7D228F}">
      <dgm:prSet custT="1"/>
      <dgm:spPr/>
      <dgm:t>
        <a:bodyPr/>
        <a:lstStyle/>
        <a:p>
          <a:r>
            <a:rPr lang="en-US" sz="3200" baseline="0" dirty="0"/>
            <a:t>Step execution</a:t>
          </a:r>
          <a:endParaRPr lang="en-US" sz="3200" dirty="0"/>
        </a:p>
      </dgm:t>
    </dgm:pt>
    <dgm:pt modelId="{5784C497-1A36-4A3E-842E-AC5686C0940A}" type="parTrans" cxnId="{370E20FC-A86C-41EC-BCC0-364EE1363A1D}">
      <dgm:prSet/>
      <dgm:spPr/>
      <dgm:t>
        <a:bodyPr/>
        <a:lstStyle/>
        <a:p>
          <a:endParaRPr lang="en-US"/>
        </a:p>
      </dgm:t>
    </dgm:pt>
    <dgm:pt modelId="{904EE39B-AD95-460C-98AC-DD224AB172DE}" type="sibTrans" cxnId="{370E20FC-A86C-41EC-BCC0-364EE1363A1D}">
      <dgm:prSet/>
      <dgm:spPr/>
      <dgm:t>
        <a:bodyPr/>
        <a:lstStyle/>
        <a:p>
          <a:endParaRPr lang="en-US"/>
        </a:p>
      </dgm:t>
    </dgm:pt>
    <dgm:pt modelId="{112F21EF-88EB-47F4-A01F-DA34E90C3678}">
      <dgm:prSet/>
      <dgm:spPr/>
      <dgm:t>
        <a:bodyPr/>
        <a:lstStyle/>
        <a:p>
          <a:r>
            <a:rPr lang="en-US" baseline="0" dirty="0"/>
            <a:t>Data movement Steps</a:t>
          </a:r>
          <a:endParaRPr lang="en-US" dirty="0"/>
        </a:p>
      </dgm:t>
    </dgm:pt>
    <dgm:pt modelId="{8BAEC6E1-5724-4237-B9A2-8C9A94284ACA}" type="parTrans" cxnId="{FFC602E5-73E2-4684-803C-F68A5472F613}">
      <dgm:prSet/>
      <dgm:spPr/>
      <dgm:t>
        <a:bodyPr/>
        <a:lstStyle/>
        <a:p>
          <a:endParaRPr lang="en-US"/>
        </a:p>
      </dgm:t>
    </dgm:pt>
    <dgm:pt modelId="{F6761C18-D852-4330-A55C-6838999AB191}" type="sibTrans" cxnId="{FFC602E5-73E2-4684-803C-F68A5472F613}">
      <dgm:prSet/>
      <dgm:spPr/>
      <dgm:t>
        <a:bodyPr/>
        <a:lstStyle/>
        <a:p>
          <a:endParaRPr lang="en-US"/>
        </a:p>
      </dgm:t>
    </dgm:pt>
    <dgm:pt modelId="{1285B380-39DC-444E-88A4-DA7555ED1F59}">
      <dgm:prSet/>
      <dgm:spPr/>
      <dgm:t>
        <a:bodyPr/>
        <a:lstStyle/>
        <a:p>
          <a:r>
            <a:rPr lang="en-US" baseline="0" dirty="0"/>
            <a:t>Return operations</a:t>
          </a:r>
          <a:endParaRPr lang="en-US" dirty="0"/>
        </a:p>
      </dgm:t>
    </dgm:pt>
    <dgm:pt modelId="{0C8BFFA7-564A-4C67-ADB6-D9005923EFF0}" type="parTrans" cxnId="{B49259F2-B056-4290-AE64-FC59310FE24D}">
      <dgm:prSet/>
      <dgm:spPr/>
      <dgm:t>
        <a:bodyPr/>
        <a:lstStyle/>
        <a:p>
          <a:endParaRPr lang="en-US"/>
        </a:p>
      </dgm:t>
    </dgm:pt>
    <dgm:pt modelId="{92C425DD-66C5-402D-8CFF-A255E83635CB}" type="sibTrans" cxnId="{B49259F2-B056-4290-AE64-FC59310FE24D}">
      <dgm:prSet/>
      <dgm:spPr/>
      <dgm:t>
        <a:bodyPr/>
        <a:lstStyle/>
        <a:p>
          <a:endParaRPr lang="en-US"/>
        </a:p>
      </dgm:t>
    </dgm:pt>
    <dgm:pt modelId="{CF5F05CE-FE45-469C-9B7A-35E1E2AA2EAF}">
      <dgm:prSet/>
      <dgm:spPr/>
      <dgm:t>
        <a:bodyPr/>
        <a:lstStyle/>
        <a:p>
          <a:r>
            <a:rPr lang="en-US" dirty="0"/>
            <a:t>Usually, the more relevant metric vs query execution time</a:t>
          </a:r>
        </a:p>
      </dgm:t>
    </dgm:pt>
    <dgm:pt modelId="{574F4BED-C798-4659-8F12-E26C9412A6BE}" type="parTrans" cxnId="{9EBD2FCA-C7AA-43C1-A0E6-6B14EB4515F8}">
      <dgm:prSet/>
      <dgm:spPr/>
      <dgm:t>
        <a:bodyPr/>
        <a:lstStyle/>
        <a:p>
          <a:endParaRPr lang="en-US"/>
        </a:p>
      </dgm:t>
    </dgm:pt>
    <dgm:pt modelId="{769CE948-CCBC-4235-9291-9DC6A03ECFAB}" type="sibTrans" cxnId="{9EBD2FCA-C7AA-43C1-A0E6-6B14EB4515F8}">
      <dgm:prSet/>
      <dgm:spPr/>
      <dgm:t>
        <a:bodyPr/>
        <a:lstStyle/>
        <a:p>
          <a:endParaRPr lang="en-US"/>
        </a:p>
      </dgm:t>
    </dgm:pt>
    <dgm:pt modelId="{8399D81C-B73F-4511-BD63-13ED12BE2CDB}" type="pres">
      <dgm:prSet presAssocID="{77209750-14B7-4829-9A5E-353441A67F28}" presName="Name0" presStyleCnt="0">
        <dgm:presLayoutVars>
          <dgm:dir/>
          <dgm:animLvl val="lvl"/>
          <dgm:resizeHandles val="exact"/>
        </dgm:presLayoutVars>
      </dgm:prSet>
      <dgm:spPr/>
    </dgm:pt>
    <dgm:pt modelId="{F836D216-EB9F-41DB-9DCF-EA9F29DEB5CB}" type="pres">
      <dgm:prSet presAssocID="{77627F76-004F-4232-B0F5-C807D225BE9A}" presName="linNode" presStyleCnt="0"/>
      <dgm:spPr/>
    </dgm:pt>
    <dgm:pt modelId="{4B88EED4-8325-4BD4-9BEE-E7C58427A780}" type="pres">
      <dgm:prSet presAssocID="{77627F76-004F-4232-B0F5-C807D225BE9A}" presName="parentText" presStyleLbl="node1" presStyleIdx="0" presStyleCnt="2">
        <dgm:presLayoutVars>
          <dgm:chMax val="1"/>
          <dgm:bulletEnabled val="1"/>
        </dgm:presLayoutVars>
      </dgm:prSet>
      <dgm:spPr/>
    </dgm:pt>
    <dgm:pt modelId="{C3AAF234-933E-4F9A-93C9-ADC1061D8382}" type="pres">
      <dgm:prSet presAssocID="{77627F76-004F-4232-B0F5-C807D225BE9A}" presName="descendantText" presStyleLbl="alignAccFollowNode1" presStyleIdx="0" presStyleCnt="2">
        <dgm:presLayoutVars>
          <dgm:bulletEnabled val="1"/>
        </dgm:presLayoutVars>
      </dgm:prSet>
      <dgm:spPr/>
    </dgm:pt>
    <dgm:pt modelId="{10549435-2179-48C4-B50C-353CAFE6C724}" type="pres">
      <dgm:prSet presAssocID="{F06F1B6C-2C20-4E46-A437-C92771174651}" presName="sp" presStyleCnt="0"/>
      <dgm:spPr/>
    </dgm:pt>
    <dgm:pt modelId="{2CD23F38-B236-42EB-A1C2-20A15F326681}" type="pres">
      <dgm:prSet presAssocID="{DB9101C0-F438-4C57-AAA1-50579E7D228F}" presName="linNode" presStyleCnt="0"/>
      <dgm:spPr/>
    </dgm:pt>
    <dgm:pt modelId="{366B9026-5AA1-4592-ABD1-4208CF192D92}" type="pres">
      <dgm:prSet presAssocID="{DB9101C0-F438-4C57-AAA1-50579E7D228F}" presName="parentText" presStyleLbl="node1" presStyleIdx="1" presStyleCnt="2">
        <dgm:presLayoutVars>
          <dgm:chMax val="1"/>
          <dgm:bulletEnabled val="1"/>
        </dgm:presLayoutVars>
      </dgm:prSet>
      <dgm:spPr/>
    </dgm:pt>
    <dgm:pt modelId="{90245D2F-FB4B-4999-ACDD-A7D8C442B3FC}" type="pres">
      <dgm:prSet presAssocID="{DB9101C0-F438-4C57-AAA1-50579E7D228F}" presName="descendantText" presStyleLbl="alignAccFollowNode1" presStyleIdx="1" presStyleCnt="2">
        <dgm:presLayoutVars>
          <dgm:bulletEnabled val="1"/>
        </dgm:presLayoutVars>
      </dgm:prSet>
      <dgm:spPr/>
    </dgm:pt>
  </dgm:ptLst>
  <dgm:cxnLst>
    <dgm:cxn modelId="{CB3D2F13-E973-490A-BE5F-EFBD199E0BD4}" srcId="{9994522F-A557-4F01-97FB-A8E82BB1332D}" destId="{12E29C04-1381-457F-958E-C6A660A17E6D}" srcOrd="0" destOrd="0" parTransId="{FAECE9F8-7216-42A3-AF08-B075925FF978}" sibTransId="{1195E2BB-9507-46AD-B900-CA3F17338CC8}"/>
    <dgm:cxn modelId="{D3D2781D-CAF7-408F-B4B1-F585A5259766}" type="presOf" srcId="{9994522F-A557-4F01-97FB-A8E82BB1332D}" destId="{C3AAF234-933E-4F9A-93C9-ADC1061D8382}" srcOrd="0" destOrd="1" presId="urn:microsoft.com/office/officeart/2005/8/layout/vList5"/>
    <dgm:cxn modelId="{4532561F-70AA-476F-A0D2-C06768EE795E}" type="presOf" srcId="{58EF2A53-3A44-4C8B-B2A4-FC48133AB620}" destId="{C3AAF234-933E-4F9A-93C9-ADC1061D8382}" srcOrd="0" destOrd="0" presId="urn:microsoft.com/office/officeart/2005/8/layout/vList5"/>
    <dgm:cxn modelId="{8FBFF43A-1004-4E7B-B0C7-D4A4C13FC282}" type="presOf" srcId="{CF5F05CE-FE45-469C-9B7A-35E1E2AA2EAF}" destId="{90245D2F-FB4B-4999-ACDD-A7D8C442B3FC}" srcOrd="0" destOrd="0" presId="urn:microsoft.com/office/officeart/2005/8/layout/vList5"/>
    <dgm:cxn modelId="{D623403D-7DF7-441D-A057-4F7C1D5851CB}" srcId="{77627F76-004F-4232-B0F5-C807D225BE9A}" destId="{9994522F-A557-4F01-97FB-A8E82BB1332D}" srcOrd="1" destOrd="0" parTransId="{331F70EC-166D-44C1-AE61-63FFC2D5250C}" sibTransId="{916B2FDC-5144-4C59-BA3E-15866A679F39}"/>
    <dgm:cxn modelId="{5FE96C4C-D106-41F7-A595-C4FF7B8C32FB}" type="presOf" srcId="{DB9101C0-F438-4C57-AAA1-50579E7D228F}" destId="{366B9026-5AA1-4592-ABD1-4208CF192D92}" srcOrd="0" destOrd="0" presId="urn:microsoft.com/office/officeart/2005/8/layout/vList5"/>
    <dgm:cxn modelId="{5C7CCC4D-55DB-44DD-9411-CDBAE66A8C69}" type="presOf" srcId="{12E29C04-1381-457F-958E-C6A660A17E6D}" destId="{C3AAF234-933E-4F9A-93C9-ADC1061D8382}" srcOrd="0" destOrd="2" presId="urn:microsoft.com/office/officeart/2005/8/layout/vList5"/>
    <dgm:cxn modelId="{1FE23C71-DB98-4874-A15E-688D9C1B74AC}" type="presOf" srcId="{1285B380-39DC-444E-88A4-DA7555ED1F59}" destId="{90245D2F-FB4B-4999-ACDD-A7D8C442B3FC}" srcOrd="0" destOrd="2" presId="urn:microsoft.com/office/officeart/2005/8/layout/vList5"/>
    <dgm:cxn modelId="{B0563C55-EC5A-4844-B845-13033B36A6C0}" srcId="{77209750-14B7-4829-9A5E-353441A67F28}" destId="{77627F76-004F-4232-B0F5-C807D225BE9A}" srcOrd="0" destOrd="0" parTransId="{B6D18312-E335-4528-8A37-33D326DBC6A4}" sibTransId="{F06F1B6C-2C20-4E46-A437-C92771174651}"/>
    <dgm:cxn modelId="{D5CE7B58-2CBC-4CA6-A0D0-75BFB377F2FD}" srcId="{9994522F-A557-4F01-97FB-A8E82BB1332D}" destId="{3D66C1AD-6E87-4548-85D3-0EBEE0E0786A}" srcOrd="1" destOrd="0" parTransId="{B877D66F-289C-49A4-B26A-5826A8DB79DB}" sibTransId="{43722381-D9B8-46AC-B49C-1AC998034759}"/>
    <dgm:cxn modelId="{A762EE59-0E73-4A50-9546-4EE3BEC81EB8}" type="presOf" srcId="{3D66C1AD-6E87-4548-85D3-0EBEE0E0786A}" destId="{C3AAF234-933E-4F9A-93C9-ADC1061D8382}" srcOrd="0" destOrd="3" presId="urn:microsoft.com/office/officeart/2005/8/layout/vList5"/>
    <dgm:cxn modelId="{E6010481-6F53-40F3-B6D2-4FC06AA7D457}" type="presOf" srcId="{112F21EF-88EB-47F4-A01F-DA34E90C3678}" destId="{90245D2F-FB4B-4999-ACDD-A7D8C442B3FC}" srcOrd="0" destOrd="1" presId="urn:microsoft.com/office/officeart/2005/8/layout/vList5"/>
    <dgm:cxn modelId="{9DCFBC99-7E47-48BA-8B99-45080F03BA55}" type="presOf" srcId="{77209750-14B7-4829-9A5E-353441A67F28}" destId="{8399D81C-B73F-4511-BD63-13ED12BE2CDB}" srcOrd="0" destOrd="0" presId="urn:microsoft.com/office/officeart/2005/8/layout/vList5"/>
    <dgm:cxn modelId="{3EBCA9A5-62D7-4801-9865-8AB08C2F1D59}" srcId="{77627F76-004F-4232-B0F5-C807D225BE9A}" destId="{58EF2A53-3A44-4C8B-B2A4-FC48133AB620}" srcOrd="0" destOrd="0" parTransId="{58518562-9D7B-493B-B41A-B9962A58B965}" sibTransId="{98028636-D439-4277-997F-B1AE5DF15B5D}"/>
    <dgm:cxn modelId="{9EBD2FCA-C7AA-43C1-A0E6-6B14EB4515F8}" srcId="{DB9101C0-F438-4C57-AAA1-50579E7D228F}" destId="{CF5F05CE-FE45-469C-9B7A-35E1E2AA2EAF}" srcOrd="0" destOrd="0" parTransId="{574F4BED-C798-4659-8F12-E26C9412A6BE}" sibTransId="{769CE948-CCBC-4235-9291-9DC6A03ECFAB}"/>
    <dgm:cxn modelId="{FFC602E5-73E2-4684-803C-F68A5472F613}" srcId="{DB9101C0-F438-4C57-AAA1-50579E7D228F}" destId="{112F21EF-88EB-47F4-A01F-DA34E90C3678}" srcOrd="1" destOrd="0" parTransId="{8BAEC6E1-5724-4237-B9A2-8C9A94284ACA}" sibTransId="{F6761C18-D852-4330-A55C-6838999AB191}"/>
    <dgm:cxn modelId="{28898BE8-EA3A-41C7-949A-133F394DB39C}" type="presOf" srcId="{77627F76-004F-4232-B0F5-C807D225BE9A}" destId="{4B88EED4-8325-4BD4-9BEE-E7C58427A780}" srcOrd="0" destOrd="0" presId="urn:microsoft.com/office/officeart/2005/8/layout/vList5"/>
    <dgm:cxn modelId="{B49259F2-B056-4290-AE64-FC59310FE24D}" srcId="{DB9101C0-F438-4C57-AAA1-50579E7D228F}" destId="{1285B380-39DC-444E-88A4-DA7555ED1F59}" srcOrd="2" destOrd="0" parTransId="{0C8BFFA7-564A-4C67-ADB6-D9005923EFF0}" sibTransId="{92C425DD-66C5-402D-8CFF-A255E83635CB}"/>
    <dgm:cxn modelId="{370E20FC-A86C-41EC-BCC0-364EE1363A1D}" srcId="{77209750-14B7-4829-9A5E-353441A67F28}" destId="{DB9101C0-F438-4C57-AAA1-50579E7D228F}" srcOrd="1" destOrd="0" parTransId="{5784C497-1A36-4A3E-842E-AC5686C0940A}" sibTransId="{904EE39B-AD95-460C-98AC-DD224AB172DE}"/>
    <dgm:cxn modelId="{CA7CCC86-13ED-4B03-BA05-1CFB725B658C}" type="presParOf" srcId="{8399D81C-B73F-4511-BD63-13ED12BE2CDB}" destId="{F836D216-EB9F-41DB-9DCF-EA9F29DEB5CB}" srcOrd="0" destOrd="0" presId="urn:microsoft.com/office/officeart/2005/8/layout/vList5"/>
    <dgm:cxn modelId="{87F3C55D-EC30-42BE-997A-85AAC55636C5}" type="presParOf" srcId="{F836D216-EB9F-41DB-9DCF-EA9F29DEB5CB}" destId="{4B88EED4-8325-4BD4-9BEE-E7C58427A780}" srcOrd="0" destOrd="0" presId="urn:microsoft.com/office/officeart/2005/8/layout/vList5"/>
    <dgm:cxn modelId="{6743465E-D97D-4088-B8DA-0298DEA6C49A}" type="presParOf" srcId="{F836D216-EB9F-41DB-9DCF-EA9F29DEB5CB}" destId="{C3AAF234-933E-4F9A-93C9-ADC1061D8382}" srcOrd="1" destOrd="0" presId="urn:microsoft.com/office/officeart/2005/8/layout/vList5"/>
    <dgm:cxn modelId="{FBB129E2-F4B1-406C-AB64-E66FF883B44D}" type="presParOf" srcId="{8399D81C-B73F-4511-BD63-13ED12BE2CDB}" destId="{10549435-2179-48C4-B50C-353CAFE6C724}" srcOrd="1" destOrd="0" presId="urn:microsoft.com/office/officeart/2005/8/layout/vList5"/>
    <dgm:cxn modelId="{39C7482C-9B76-4269-AF6F-8DC70BB33B14}" type="presParOf" srcId="{8399D81C-B73F-4511-BD63-13ED12BE2CDB}" destId="{2CD23F38-B236-42EB-A1C2-20A15F326681}" srcOrd="2" destOrd="0" presId="urn:microsoft.com/office/officeart/2005/8/layout/vList5"/>
    <dgm:cxn modelId="{38A9A4E1-E0B6-489F-BF8A-78B0C9DC82B5}" type="presParOf" srcId="{2CD23F38-B236-42EB-A1C2-20A15F326681}" destId="{366B9026-5AA1-4592-ABD1-4208CF192D92}" srcOrd="0" destOrd="0" presId="urn:microsoft.com/office/officeart/2005/8/layout/vList5"/>
    <dgm:cxn modelId="{6ED78CAF-B62B-4DF5-B9B0-F49C0EE6D19F}" type="presParOf" srcId="{2CD23F38-B236-42EB-A1C2-20A15F326681}" destId="{90245D2F-FB4B-4999-ACDD-A7D8C442B3F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703AAE2-9BD3-4A76-952A-6E607D1FFEC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9A39CA8-EA7C-4D00-B0CB-7D0AC384BB04}">
      <dgm:prSet custT="1"/>
      <dgm:spPr/>
      <dgm:t>
        <a:bodyPr/>
        <a:lstStyle/>
        <a:p>
          <a:r>
            <a:rPr lang="en-US" sz="3200" baseline="0" dirty="0"/>
            <a:t>Concurrency slots</a:t>
          </a:r>
          <a:r>
            <a:rPr lang="en-US" sz="4600" baseline="0" dirty="0"/>
            <a:t>: </a:t>
          </a:r>
          <a:endParaRPr lang="en-US" sz="4600" dirty="0"/>
        </a:p>
      </dgm:t>
    </dgm:pt>
    <dgm:pt modelId="{86AC6C03-FF3D-4709-A889-2D036CF1A423}" type="parTrans" cxnId="{260CBCD4-62BB-4E3D-9104-BBCB131ED7A9}">
      <dgm:prSet/>
      <dgm:spPr/>
      <dgm:t>
        <a:bodyPr/>
        <a:lstStyle/>
        <a:p>
          <a:endParaRPr lang="en-US"/>
        </a:p>
      </dgm:t>
    </dgm:pt>
    <dgm:pt modelId="{F710AF2D-BB6F-461C-94CB-556348FC3047}" type="sibTrans" cxnId="{260CBCD4-62BB-4E3D-9104-BBCB131ED7A9}">
      <dgm:prSet/>
      <dgm:spPr/>
      <dgm:t>
        <a:bodyPr/>
        <a:lstStyle/>
        <a:p>
          <a:endParaRPr lang="en-US"/>
        </a:p>
      </dgm:t>
    </dgm:pt>
    <dgm:pt modelId="{F5742591-A81D-4D0A-83CF-65D64C401044}">
      <dgm:prSet custT="1"/>
      <dgm:spPr/>
      <dgm:t>
        <a:bodyPr/>
        <a:lstStyle/>
        <a:p>
          <a:r>
            <a:rPr lang="en-US" sz="2000" baseline="0" dirty="0"/>
            <a:t>Azure Metrics </a:t>
          </a:r>
          <a:endParaRPr lang="en-US" sz="2000" dirty="0"/>
        </a:p>
      </dgm:t>
    </dgm:pt>
    <dgm:pt modelId="{375B60EA-D7B3-48C5-906B-6578942534D0}" type="parTrans" cxnId="{D804039E-03BD-4E17-B7F4-FDBF2D52E926}">
      <dgm:prSet/>
      <dgm:spPr/>
      <dgm:t>
        <a:bodyPr/>
        <a:lstStyle/>
        <a:p>
          <a:endParaRPr lang="en-US"/>
        </a:p>
      </dgm:t>
    </dgm:pt>
    <dgm:pt modelId="{6A2A79A5-395A-47B7-B2D2-DC68567E70CC}" type="sibTrans" cxnId="{D804039E-03BD-4E17-B7F4-FDBF2D52E926}">
      <dgm:prSet/>
      <dgm:spPr/>
      <dgm:t>
        <a:bodyPr/>
        <a:lstStyle/>
        <a:p>
          <a:endParaRPr lang="en-US"/>
        </a:p>
      </dgm:t>
    </dgm:pt>
    <dgm:pt modelId="{77C0459E-30AC-49C6-A7D9-9B2FDDD0C330}">
      <dgm:prSet custT="1"/>
      <dgm:spPr/>
      <dgm:t>
        <a:bodyPr/>
        <a:lstStyle/>
        <a:p>
          <a:r>
            <a:rPr lang="en-US" sz="2000" baseline="0" dirty="0"/>
            <a:t>DMV queries</a:t>
          </a:r>
          <a:endParaRPr lang="en-US" sz="2000" dirty="0"/>
        </a:p>
      </dgm:t>
    </dgm:pt>
    <dgm:pt modelId="{8C1157E2-207F-4B55-82AE-F448EEC99A9A}" type="parTrans" cxnId="{CC3A914F-1E6E-4098-8426-48835069725F}">
      <dgm:prSet/>
      <dgm:spPr/>
      <dgm:t>
        <a:bodyPr/>
        <a:lstStyle/>
        <a:p>
          <a:endParaRPr lang="en-US"/>
        </a:p>
      </dgm:t>
    </dgm:pt>
    <dgm:pt modelId="{6818E890-8163-4CC0-8EE0-099719DDB7D0}" type="sibTrans" cxnId="{CC3A914F-1E6E-4098-8426-48835069725F}">
      <dgm:prSet/>
      <dgm:spPr/>
      <dgm:t>
        <a:bodyPr/>
        <a:lstStyle/>
        <a:p>
          <a:endParaRPr lang="en-US"/>
        </a:p>
      </dgm:t>
    </dgm:pt>
    <dgm:pt modelId="{071C861F-4A59-4607-B067-3FBBF2F10E86}">
      <dgm:prSet custT="1"/>
      <dgm:spPr/>
      <dgm:t>
        <a:bodyPr/>
        <a:lstStyle/>
        <a:p>
          <a:r>
            <a:rPr lang="en-US" sz="3200" baseline="0" dirty="0"/>
            <a:t>Object-level locking</a:t>
          </a:r>
          <a:endParaRPr lang="en-US" sz="3200" dirty="0"/>
        </a:p>
      </dgm:t>
    </dgm:pt>
    <dgm:pt modelId="{63C62831-E6A7-4350-99A2-CAEFB0FC4B7A}" type="parTrans" cxnId="{B5BE14FB-C382-42D7-8FB6-F014A318EF48}">
      <dgm:prSet/>
      <dgm:spPr/>
      <dgm:t>
        <a:bodyPr/>
        <a:lstStyle/>
        <a:p>
          <a:endParaRPr lang="en-US"/>
        </a:p>
      </dgm:t>
    </dgm:pt>
    <dgm:pt modelId="{B893B295-4DBD-44D5-810C-3EA4726C47AB}" type="sibTrans" cxnId="{B5BE14FB-C382-42D7-8FB6-F014A318EF48}">
      <dgm:prSet/>
      <dgm:spPr/>
      <dgm:t>
        <a:bodyPr/>
        <a:lstStyle/>
        <a:p>
          <a:endParaRPr lang="en-US"/>
        </a:p>
      </dgm:t>
    </dgm:pt>
    <dgm:pt modelId="{4EC55FC6-F8BC-4CD1-90CA-2A7C730B68EF}">
      <dgm:prSet custT="1"/>
      <dgm:spPr/>
      <dgm:t>
        <a:bodyPr/>
        <a:lstStyle/>
        <a:p>
          <a:r>
            <a:rPr lang="en-US" sz="2000" baseline="0" dirty="0"/>
            <a:t>Query lock hierarchy</a:t>
          </a:r>
          <a:endParaRPr lang="en-US" sz="2000" dirty="0"/>
        </a:p>
      </dgm:t>
    </dgm:pt>
    <dgm:pt modelId="{A949D41D-C091-4EB2-A407-8B4AD2E8D9BC}" type="parTrans" cxnId="{D11B6258-A197-4319-98C6-84B9B3F7BC2E}">
      <dgm:prSet/>
      <dgm:spPr/>
      <dgm:t>
        <a:bodyPr/>
        <a:lstStyle/>
        <a:p>
          <a:endParaRPr lang="en-US"/>
        </a:p>
      </dgm:t>
    </dgm:pt>
    <dgm:pt modelId="{89615AB8-1034-4441-91AC-CC0E5D9F555F}" type="sibTrans" cxnId="{D11B6258-A197-4319-98C6-84B9B3F7BC2E}">
      <dgm:prSet/>
      <dgm:spPr/>
      <dgm:t>
        <a:bodyPr/>
        <a:lstStyle/>
        <a:p>
          <a:endParaRPr lang="en-US"/>
        </a:p>
      </dgm:t>
    </dgm:pt>
    <dgm:pt modelId="{25B310BD-FEC4-45F8-99A4-4DCC139B2B53}">
      <dgm:prSet custT="1"/>
      <dgm:spPr/>
      <dgm:t>
        <a:bodyPr/>
        <a:lstStyle/>
        <a:p>
          <a:r>
            <a:rPr lang="en-US" sz="2000" baseline="0" dirty="0"/>
            <a:t>Look for a queued lock, then compare to all other locks on the same objects</a:t>
          </a:r>
          <a:endParaRPr lang="en-US" sz="2000" dirty="0"/>
        </a:p>
      </dgm:t>
    </dgm:pt>
    <dgm:pt modelId="{5F64CFC7-4EF2-4CFD-A0BD-5736BE997813}" type="parTrans" cxnId="{DF213736-3775-4F0A-9682-8D614A44BEB4}">
      <dgm:prSet/>
      <dgm:spPr/>
      <dgm:t>
        <a:bodyPr/>
        <a:lstStyle/>
        <a:p>
          <a:endParaRPr lang="en-US"/>
        </a:p>
      </dgm:t>
    </dgm:pt>
    <dgm:pt modelId="{40FAD505-D248-4D1B-99B2-E7BE4ECF3B45}" type="sibTrans" cxnId="{DF213736-3775-4F0A-9682-8D614A44BEB4}">
      <dgm:prSet/>
      <dgm:spPr/>
      <dgm:t>
        <a:bodyPr/>
        <a:lstStyle/>
        <a:p>
          <a:endParaRPr lang="en-US"/>
        </a:p>
      </dgm:t>
    </dgm:pt>
    <dgm:pt modelId="{72DA0D3B-6EE1-4E63-835D-5BB2FA5B43BE}">
      <dgm:prSet custT="1"/>
      <dgm:spPr/>
      <dgm:t>
        <a:bodyPr/>
        <a:lstStyle/>
        <a:p>
          <a:r>
            <a:rPr lang="en-US" sz="2000" baseline="0" dirty="0"/>
            <a:t>Look out especially for Exclusive locks</a:t>
          </a:r>
          <a:endParaRPr lang="en-US" sz="2000" dirty="0"/>
        </a:p>
      </dgm:t>
    </dgm:pt>
    <dgm:pt modelId="{70833EAE-794C-4221-8415-CD2FCAFB96CC}" type="parTrans" cxnId="{0F51BC9F-E0E1-4A62-B3F1-B7FF15B82297}">
      <dgm:prSet/>
      <dgm:spPr/>
      <dgm:t>
        <a:bodyPr/>
        <a:lstStyle/>
        <a:p>
          <a:endParaRPr lang="en-US"/>
        </a:p>
      </dgm:t>
    </dgm:pt>
    <dgm:pt modelId="{E6793EC3-6A80-43E4-BA51-7CE887CBC6FB}" type="sibTrans" cxnId="{0F51BC9F-E0E1-4A62-B3F1-B7FF15B82297}">
      <dgm:prSet/>
      <dgm:spPr/>
      <dgm:t>
        <a:bodyPr/>
        <a:lstStyle/>
        <a:p>
          <a:endParaRPr lang="en-US"/>
        </a:p>
      </dgm:t>
    </dgm:pt>
    <dgm:pt modelId="{C3AE6A80-3C44-4A95-AA33-6A10DD1F8ECF}">
      <dgm:prSet custT="1"/>
      <dgm:spPr/>
      <dgm:t>
        <a:bodyPr/>
        <a:lstStyle/>
        <a:p>
          <a:r>
            <a:rPr lang="en-US" sz="2000" baseline="0" dirty="0"/>
            <a:t>USUALLY, the most granular lock in the hierarchy is the one that’s blocked</a:t>
          </a:r>
          <a:endParaRPr lang="en-US" sz="2000" dirty="0"/>
        </a:p>
      </dgm:t>
    </dgm:pt>
    <dgm:pt modelId="{F9AF886C-9AE0-4CDC-9BB0-31B103538A8E}" type="parTrans" cxnId="{FC18FE1B-BA60-4669-AF62-D748C2F06864}">
      <dgm:prSet/>
      <dgm:spPr/>
      <dgm:t>
        <a:bodyPr/>
        <a:lstStyle/>
        <a:p>
          <a:endParaRPr lang="en-US"/>
        </a:p>
      </dgm:t>
    </dgm:pt>
    <dgm:pt modelId="{B6794EC4-94BB-4C28-8F4B-1C12E7C1765B}" type="sibTrans" cxnId="{FC18FE1B-BA60-4669-AF62-D748C2F06864}">
      <dgm:prSet/>
      <dgm:spPr/>
      <dgm:t>
        <a:bodyPr/>
        <a:lstStyle/>
        <a:p>
          <a:endParaRPr lang="en-US"/>
        </a:p>
      </dgm:t>
    </dgm:pt>
    <dgm:pt modelId="{308D1A36-F07D-40C8-8A4A-0AA4BCA14904}" type="pres">
      <dgm:prSet presAssocID="{C703AAE2-9BD3-4A76-952A-6E607D1FFECA}" presName="Name0" presStyleCnt="0">
        <dgm:presLayoutVars>
          <dgm:dir/>
          <dgm:animLvl val="lvl"/>
          <dgm:resizeHandles val="exact"/>
        </dgm:presLayoutVars>
      </dgm:prSet>
      <dgm:spPr/>
    </dgm:pt>
    <dgm:pt modelId="{5EC21A6D-296A-4024-AC35-6CD498EFDEA4}" type="pres">
      <dgm:prSet presAssocID="{B9A39CA8-EA7C-4D00-B0CB-7D0AC384BB04}" presName="linNode" presStyleCnt="0"/>
      <dgm:spPr/>
    </dgm:pt>
    <dgm:pt modelId="{9482ED10-84F3-49A8-AD07-9F982F6854BE}" type="pres">
      <dgm:prSet presAssocID="{B9A39CA8-EA7C-4D00-B0CB-7D0AC384BB04}" presName="parentText" presStyleLbl="node1" presStyleIdx="0" presStyleCnt="2" custScaleY="58548" custLinFactNeighborX="-567">
        <dgm:presLayoutVars>
          <dgm:chMax val="1"/>
          <dgm:bulletEnabled val="1"/>
        </dgm:presLayoutVars>
      </dgm:prSet>
      <dgm:spPr/>
    </dgm:pt>
    <dgm:pt modelId="{5E0E6551-4ABE-456C-84A9-B2D137EABBD4}" type="pres">
      <dgm:prSet presAssocID="{B9A39CA8-EA7C-4D00-B0CB-7D0AC384BB04}" presName="descendantText" presStyleLbl="alignAccFollowNode1" presStyleIdx="0" presStyleCnt="2" custScaleY="51096">
        <dgm:presLayoutVars>
          <dgm:bulletEnabled val="1"/>
        </dgm:presLayoutVars>
      </dgm:prSet>
      <dgm:spPr/>
    </dgm:pt>
    <dgm:pt modelId="{3B1AEEA3-B21C-4C16-A036-EB6BFAB1EDC1}" type="pres">
      <dgm:prSet presAssocID="{F710AF2D-BB6F-461C-94CB-556348FC3047}" presName="sp" presStyleCnt="0"/>
      <dgm:spPr/>
    </dgm:pt>
    <dgm:pt modelId="{4D4C30BE-41AE-47FE-A0F3-CE19611B8932}" type="pres">
      <dgm:prSet presAssocID="{071C861F-4A59-4607-B067-3FBBF2F10E86}" presName="linNode" presStyleCnt="0"/>
      <dgm:spPr/>
    </dgm:pt>
    <dgm:pt modelId="{58634ADF-2998-4314-8A9E-F5E00DC5FA7F}" type="pres">
      <dgm:prSet presAssocID="{071C861F-4A59-4607-B067-3FBBF2F10E86}" presName="parentText" presStyleLbl="node1" presStyleIdx="1" presStyleCnt="2">
        <dgm:presLayoutVars>
          <dgm:chMax val="1"/>
          <dgm:bulletEnabled val="1"/>
        </dgm:presLayoutVars>
      </dgm:prSet>
      <dgm:spPr/>
    </dgm:pt>
    <dgm:pt modelId="{39623C17-8F35-444E-BE08-C98187EC7DC7}" type="pres">
      <dgm:prSet presAssocID="{071C861F-4A59-4607-B067-3FBBF2F10E86}" presName="descendantText" presStyleLbl="alignAccFollowNode1" presStyleIdx="1" presStyleCnt="2">
        <dgm:presLayoutVars>
          <dgm:bulletEnabled val="1"/>
        </dgm:presLayoutVars>
      </dgm:prSet>
      <dgm:spPr/>
    </dgm:pt>
  </dgm:ptLst>
  <dgm:cxnLst>
    <dgm:cxn modelId="{CA957E11-E594-4458-A18E-DF0D6170ADA5}" type="presOf" srcId="{F5742591-A81D-4D0A-83CF-65D64C401044}" destId="{5E0E6551-4ABE-456C-84A9-B2D137EABBD4}" srcOrd="0" destOrd="0" presId="urn:microsoft.com/office/officeart/2005/8/layout/vList5"/>
    <dgm:cxn modelId="{FC18FE1B-BA60-4669-AF62-D748C2F06864}" srcId="{071C861F-4A59-4607-B067-3FBBF2F10E86}" destId="{C3AE6A80-3C44-4A95-AA33-6A10DD1F8ECF}" srcOrd="3" destOrd="0" parTransId="{F9AF886C-9AE0-4CDC-9BB0-31B103538A8E}" sibTransId="{B6794EC4-94BB-4C28-8F4B-1C12E7C1765B}"/>
    <dgm:cxn modelId="{7F8B5C31-5047-4D34-8B0D-D00D0249688A}" type="presOf" srcId="{B9A39CA8-EA7C-4D00-B0CB-7D0AC384BB04}" destId="{9482ED10-84F3-49A8-AD07-9F982F6854BE}" srcOrd="0" destOrd="0" presId="urn:microsoft.com/office/officeart/2005/8/layout/vList5"/>
    <dgm:cxn modelId="{DF213736-3775-4F0A-9682-8D614A44BEB4}" srcId="{071C861F-4A59-4607-B067-3FBBF2F10E86}" destId="{25B310BD-FEC4-45F8-99A4-4DCC139B2B53}" srcOrd="1" destOrd="0" parTransId="{5F64CFC7-4EF2-4CFD-A0BD-5736BE997813}" sibTransId="{40FAD505-D248-4D1B-99B2-E7BE4ECF3B45}"/>
    <dgm:cxn modelId="{CC3A914F-1E6E-4098-8426-48835069725F}" srcId="{B9A39CA8-EA7C-4D00-B0CB-7D0AC384BB04}" destId="{77C0459E-30AC-49C6-A7D9-9B2FDDD0C330}" srcOrd="1" destOrd="0" parTransId="{8C1157E2-207F-4B55-82AE-F448EEC99A9A}" sibTransId="{6818E890-8163-4CC0-8EE0-099719DDB7D0}"/>
    <dgm:cxn modelId="{11646151-FDBD-4C77-80DD-88112347B92E}" type="presOf" srcId="{77C0459E-30AC-49C6-A7D9-9B2FDDD0C330}" destId="{5E0E6551-4ABE-456C-84A9-B2D137EABBD4}" srcOrd="0" destOrd="1" presId="urn:microsoft.com/office/officeart/2005/8/layout/vList5"/>
    <dgm:cxn modelId="{92416075-9E2E-4632-B39C-4C6313E8AE05}" type="presOf" srcId="{25B310BD-FEC4-45F8-99A4-4DCC139B2B53}" destId="{39623C17-8F35-444E-BE08-C98187EC7DC7}" srcOrd="0" destOrd="1" presId="urn:microsoft.com/office/officeart/2005/8/layout/vList5"/>
    <dgm:cxn modelId="{D11B6258-A197-4319-98C6-84B9B3F7BC2E}" srcId="{071C861F-4A59-4607-B067-3FBBF2F10E86}" destId="{4EC55FC6-F8BC-4CD1-90CA-2A7C730B68EF}" srcOrd="0" destOrd="0" parTransId="{A949D41D-C091-4EB2-A407-8B4AD2E8D9BC}" sibTransId="{89615AB8-1034-4441-91AC-CC0E5D9F555F}"/>
    <dgm:cxn modelId="{58CBE959-3C0D-4486-8732-23D996FA88D5}" type="presOf" srcId="{071C861F-4A59-4607-B067-3FBBF2F10E86}" destId="{58634ADF-2998-4314-8A9E-F5E00DC5FA7F}" srcOrd="0" destOrd="0" presId="urn:microsoft.com/office/officeart/2005/8/layout/vList5"/>
    <dgm:cxn modelId="{D5FB1491-4DCA-461F-8F34-6BEF417DAD0A}" type="presOf" srcId="{C3AE6A80-3C44-4A95-AA33-6A10DD1F8ECF}" destId="{39623C17-8F35-444E-BE08-C98187EC7DC7}" srcOrd="0" destOrd="3" presId="urn:microsoft.com/office/officeart/2005/8/layout/vList5"/>
    <dgm:cxn modelId="{D804039E-03BD-4E17-B7F4-FDBF2D52E926}" srcId="{B9A39CA8-EA7C-4D00-B0CB-7D0AC384BB04}" destId="{F5742591-A81D-4D0A-83CF-65D64C401044}" srcOrd="0" destOrd="0" parTransId="{375B60EA-D7B3-48C5-906B-6578942534D0}" sibTransId="{6A2A79A5-395A-47B7-B2D2-DC68567E70CC}"/>
    <dgm:cxn modelId="{0F51BC9F-E0E1-4A62-B3F1-B7FF15B82297}" srcId="{071C861F-4A59-4607-B067-3FBBF2F10E86}" destId="{72DA0D3B-6EE1-4E63-835D-5BB2FA5B43BE}" srcOrd="2" destOrd="0" parTransId="{70833EAE-794C-4221-8415-CD2FCAFB96CC}" sibTransId="{E6793EC3-6A80-43E4-BA51-7CE887CBC6FB}"/>
    <dgm:cxn modelId="{80CB00A7-C955-4C43-B938-7864D95FF209}" type="presOf" srcId="{4EC55FC6-F8BC-4CD1-90CA-2A7C730B68EF}" destId="{39623C17-8F35-444E-BE08-C98187EC7DC7}" srcOrd="0" destOrd="0" presId="urn:microsoft.com/office/officeart/2005/8/layout/vList5"/>
    <dgm:cxn modelId="{FB751FAB-CCB8-4078-A144-9FEDFA7ADF55}" type="presOf" srcId="{C703AAE2-9BD3-4A76-952A-6E607D1FFECA}" destId="{308D1A36-F07D-40C8-8A4A-0AA4BCA14904}" srcOrd="0" destOrd="0" presId="urn:microsoft.com/office/officeart/2005/8/layout/vList5"/>
    <dgm:cxn modelId="{C0BADEB8-3976-4894-BC84-3C2FE108F09D}" type="presOf" srcId="{72DA0D3B-6EE1-4E63-835D-5BB2FA5B43BE}" destId="{39623C17-8F35-444E-BE08-C98187EC7DC7}" srcOrd="0" destOrd="2" presId="urn:microsoft.com/office/officeart/2005/8/layout/vList5"/>
    <dgm:cxn modelId="{260CBCD4-62BB-4E3D-9104-BBCB131ED7A9}" srcId="{C703AAE2-9BD3-4A76-952A-6E607D1FFECA}" destId="{B9A39CA8-EA7C-4D00-B0CB-7D0AC384BB04}" srcOrd="0" destOrd="0" parTransId="{86AC6C03-FF3D-4709-A889-2D036CF1A423}" sibTransId="{F710AF2D-BB6F-461C-94CB-556348FC3047}"/>
    <dgm:cxn modelId="{B5BE14FB-C382-42D7-8FB6-F014A318EF48}" srcId="{C703AAE2-9BD3-4A76-952A-6E607D1FFECA}" destId="{071C861F-4A59-4607-B067-3FBBF2F10E86}" srcOrd="1" destOrd="0" parTransId="{63C62831-E6A7-4350-99A2-CAEFB0FC4B7A}" sibTransId="{B893B295-4DBD-44D5-810C-3EA4726C47AB}"/>
    <dgm:cxn modelId="{DC646B76-B7D9-43CF-A10E-2FA404FB1FE3}" type="presParOf" srcId="{308D1A36-F07D-40C8-8A4A-0AA4BCA14904}" destId="{5EC21A6D-296A-4024-AC35-6CD498EFDEA4}" srcOrd="0" destOrd="0" presId="urn:microsoft.com/office/officeart/2005/8/layout/vList5"/>
    <dgm:cxn modelId="{667BB592-AFAD-4B6A-9E38-1ED2B80780D2}" type="presParOf" srcId="{5EC21A6D-296A-4024-AC35-6CD498EFDEA4}" destId="{9482ED10-84F3-49A8-AD07-9F982F6854BE}" srcOrd="0" destOrd="0" presId="urn:microsoft.com/office/officeart/2005/8/layout/vList5"/>
    <dgm:cxn modelId="{0CB4AC21-B8F7-4E19-95E8-DB1D0380FCBC}" type="presParOf" srcId="{5EC21A6D-296A-4024-AC35-6CD498EFDEA4}" destId="{5E0E6551-4ABE-456C-84A9-B2D137EABBD4}" srcOrd="1" destOrd="0" presId="urn:microsoft.com/office/officeart/2005/8/layout/vList5"/>
    <dgm:cxn modelId="{50DD3BF2-8905-400F-B0FB-046108520B0C}" type="presParOf" srcId="{308D1A36-F07D-40C8-8A4A-0AA4BCA14904}" destId="{3B1AEEA3-B21C-4C16-A036-EB6BFAB1EDC1}" srcOrd="1" destOrd="0" presId="urn:microsoft.com/office/officeart/2005/8/layout/vList5"/>
    <dgm:cxn modelId="{95AF4CB3-AA11-42EF-9011-4E7C740A3B70}" type="presParOf" srcId="{308D1A36-F07D-40C8-8A4A-0AA4BCA14904}" destId="{4D4C30BE-41AE-47FE-A0F3-CE19611B8932}" srcOrd="2" destOrd="0" presId="urn:microsoft.com/office/officeart/2005/8/layout/vList5"/>
    <dgm:cxn modelId="{201B4025-F061-4FF5-AA19-FF546982CEF4}" type="presParOf" srcId="{4D4C30BE-41AE-47FE-A0F3-CE19611B8932}" destId="{58634ADF-2998-4314-8A9E-F5E00DC5FA7F}" srcOrd="0" destOrd="0" presId="urn:microsoft.com/office/officeart/2005/8/layout/vList5"/>
    <dgm:cxn modelId="{4D3414A9-0F0E-4CA3-977C-469CC20FEB32}" type="presParOf" srcId="{4D4C30BE-41AE-47FE-A0F3-CE19611B8932}" destId="{39623C17-8F35-444E-BE08-C98187EC7DC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2685CA3-42A9-46E0-A4B5-39F2D9CEE363}"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en-US"/>
        </a:p>
      </dgm:t>
    </dgm:pt>
    <dgm:pt modelId="{2A90D384-C676-4D5E-98DE-64D6BBEBA34C}">
      <dgm:prSet/>
      <dgm:spPr/>
      <dgm:t>
        <a:bodyPr/>
        <a:lstStyle/>
        <a:p>
          <a:r>
            <a:rPr lang="en-US" b="1" dirty="0"/>
            <a:t>NOTE: </a:t>
          </a:r>
          <a:r>
            <a:rPr lang="en-US" b="1" dirty="0" err="1"/>
            <a:t>Sys.dm_pdw_dms_workers</a:t>
          </a:r>
          <a:r>
            <a:rPr lang="en-US" b="1" dirty="0"/>
            <a:t> is a very large, expensive DMV that may take up to a few minutes to return on a very busy system</a:t>
          </a:r>
        </a:p>
      </dgm:t>
    </dgm:pt>
    <dgm:pt modelId="{D786E9EA-E39E-4299-9FB2-48B73C9BA31B}" type="parTrans" cxnId="{DF3EB267-11BC-476D-AB5D-170BA555FC52}">
      <dgm:prSet/>
      <dgm:spPr/>
      <dgm:t>
        <a:bodyPr/>
        <a:lstStyle/>
        <a:p>
          <a:endParaRPr lang="en-US"/>
        </a:p>
      </dgm:t>
    </dgm:pt>
    <dgm:pt modelId="{884E0C79-226A-463C-B8A1-9C7A5C1DF369}" type="sibTrans" cxnId="{DF3EB267-11BC-476D-AB5D-170BA555FC52}">
      <dgm:prSet/>
      <dgm:spPr/>
      <dgm:t>
        <a:bodyPr/>
        <a:lstStyle/>
        <a:p>
          <a:endParaRPr lang="en-US"/>
        </a:p>
      </dgm:t>
    </dgm:pt>
    <dgm:pt modelId="{27F4BE3A-5B0B-495E-8CFC-13C548C48314}" type="pres">
      <dgm:prSet presAssocID="{C2685CA3-42A9-46E0-A4B5-39F2D9CEE363}" presName="Name0" presStyleCnt="0">
        <dgm:presLayoutVars>
          <dgm:chMax val="7"/>
          <dgm:dir/>
          <dgm:animLvl val="lvl"/>
          <dgm:resizeHandles val="exact"/>
        </dgm:presLayoutVars>
      </dgm:prSet>
      <dgm:spPr/>
    </dgm:pt>
    <dgm:pt modelId="{B73EF1EB-49C6-4D25-9D27-18568056A959}" type="pres">
      <dgm:prSet presAssocID="{2A90D384-C676-4D5E-98DE-64D6BBEBA34C}" presName="circle1" presStyleLbl="node1" presStyleIdx="0" presStyleCnt="1"/>
      <dgm:spPr/>
    </dgm:pt>
    <dgm:pt modelId="{0CA18B6C-4712-4633-B5D7-13007CE280DE}" type="pres">
      <dgm:prSet presAssocID="{2A90D384-C676-4D5E-98DE-64D6BBEBA34C}" presName="space" presStyleCnt="0"/>
      <dgm:spPr/>
    </dgm:pt>
    <dgm:pt modelId="{8B7792F1-F4F8-4ABC-9F50-0FB0A46BDFB2}" type="pres">
      <dgm:prSet presAssocID="{2A90D384-C676-4D5E-98DE-64D6BBEBA34C}" presName="rect1" presStyleLbl="alignAcc1" presStyleIdx="0" presStyleCnt="1"/>
      <dgm:spPr/>
    </dgm:pt>
    <dgm:pt modelId="{8ABB4A02-6CC1-45ED-99CA-A842456C0502}" type="pres">
      <dgm:prSet presAssocID="{2A90D384-C676-4D5E-98DE-64D6BBEBA34C}" presName="rect1ParTxNoCh" presStyleLbl="alignAcc1" presStyleIdx="0" presStyleCnt="1">
        <dgm:presLayoutVars>
          <dgm:chMax val="1"/>
          <dgm:bulletEnabled val="1"/>
        </dgm:presLayoutVars>
      </dgm:prSet>
      <dgm:spPr/>
    </dgm:pt>
  </dgm:ptLst>
  <dgm:cxnLst>
    <dgm:cxn modelId="{DF3EB267-11BC-476D-AB5D-170BA555FC52}" srcId="{C2685CA3-42A9-46E0-A4B5-39F2D9CEE363}" destId="{2A90D384-C676-4D5E-98DE-64D6BBEBA34C}" srcOrd="0" destOrd="0" parTransId="{D786E9EA-E39E-4299-9FB2-48B73C9BA31B}" sibTransId="{884E0C79-226A-463C-B8A1-9C7A5C1DF369}"/>
    <dgm:cxn modelId="{1638F892-E4DD-4C59-8B24-53005E25FFCF}" type="presOf" srcId="{2A90D384-C676-4D5E-98DE-64D6BBEBA34C}" destId="{8B7792F1-F4F8-4ABC-9F50-0FB0A46BDFB2}" srcOrd="0" destOrd="0" presId="urn:microsoft.com/office/officeart/2005/8/layout/target3"/>
    <dgm:cxn modelId="{92644AC4-D1F9-4DA5-B7A9-9462F263225F}" type="presOf" srcId="{C2685CA3-42A9-46E0-A4B5-39F2D9CEE363}" destId="{27F4BE3A-5B0B-495E-8CFC-13C548C48314}" srcOrd="0" destOrd="0" presId="urn:microsoft.com/office/officeart/2005/8/layout/target3"/>
    <dgm:cxn modelId="{61E848E1-6577-4E68-80A6-4F05F9DD7E59}" type="presOf" srcId="{2A90D384-C676-4D5E-98DE-64D6BBEBA34C}" destId="{8ABB4A02-6CC1-45ED-99CA-A842456C0502}" srcOrd="1" destOrd="0" presId="urn:microsoft.com/office/officeart/2005/8/layout/target3"/>
    <dgm:cxn modelId="{86E496F0-F9B5-4D1B-A938-61ED82FE9734}" type="presParOf" srcId="{27F4BE3A-5B0B-495E-8CFC-13C548C48314}" destId="{B73EF1EB-49C6-4D25-9D27-18568056A959}" srcOrd="0" destOrd="0" presId="urn:microsoft.com/office/officeart/2005/8/layout/target3"/>
    <dgm:cxn modelId="{7B3D7073-DB3E-486B-9651-CBE2387914B9}" type="presParOf" srcId="{27F4BE3A-5B0B-495E-8CFC-13C548C48314}" destId="{0CA18B6C-4712-4633-B5D7-13007CE280DE}" srcOrd="1" destOrd="0" presId="urn:microsoft.com/office/officeart/2005/8/layout/target3"/>
    <dgm:cxn modelId="{B0AE5854-27CB-45DB-A161-D9A8EC6AF3D7}" type="presParOf" srcId="{27F4BE3A-5B0B-495E-8CFC-13C548C48314}" destId="{8B7792F1-F4F8-4ABC-9F50-0FB0A46BDFB2}" srcOrd="2" destOrd="0" presId="urn:microsoft.com/office/officeart/2005/8/layout/target3"/>
    <dgm:cxn modelId="{9AFE3AF4-B09D-4540-84DC-B81731CD6764}" type="presParOf" srcId="{27F4BE3A-5B0B-495E-8CFC-13C548C48314}" destId="{8ABB4A02-6CC1-45ED-99CA-A842456C0502}" srcOrd="3"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0A58E54-9E1B-4A35-BF87-EE7A941179D3}"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B40B89B6-6875-462E-A6A6-AE3F347911D0}">
      <dgm:prSet/>
      <dgm:spPr/>
      <dgm:t>
        <a:bodyPr/>
        <a:lstStyle/>
        <a:p>
          <a:r>
            <a:rPr lang="en-US" baseline="0" dirty="0"/>
            <a:t>Identify the largest currently executing data movement by rows processed</a:t>
          </a:r>
          <a:endParaRPr lang="en-US" dirty="0"/>
        </a:p>
      </dgm:t>
    </dgm:pt>
    <dgm:pt modelId="{048BE61D-9F2A-4EBE-A317-017826C4EF3F}" type="parTrans" cxnId="{BAD64DF0-4A23-4A78-AE04-598DE947CA00}">
      <dgm:prSet/>
      <dgm:spPr/>
      <dgm:t>
        <a:bodyPr/>
        <a:lstStyle/>
        <a:p>
          <a:endParaRPr lang="en-US"/>
        </a:p>
      </dgm:t>
    </dgm:pt>
    <dgm:pt modelId="{5C54189C-82FA-4537-87A4-77AFAC4CAA8F}" type="sibTrans" cxnId="{BAD64DF0-4A23-4A78-AE04-598DE947CA00}">
      <dgm:prSet/>
      <dgm:spPr/>
      <dgm:t>
        <a:bodyPr/>
        <a:lstStyle/>
        <a:p>
          <a:endParaRPr lang="en-US"/>
        </a:p>
      </dgm:t>
    </dgm:pt>
    <dgm:pt modelId="{78A3F6EF-9D2A-4770-9DDE-C61BB4643BEC}">
      <dgm:prSet/>
      <dgm:spPr/>
      <dgm:t>
        <a:bodyPr/>
        <a:lstStyle/>
        <a:p>
          <a:r>
            <a:rPr lang="en-US" baseline="0"/>
            <a:t>Large broadcast moves are commonly the “largest” operation</a:t>
          </a:r>
          <a:endParaRPr lang="en-US"/>
        </a:p>
      </dgm:t>
    </dgm:pt>
    <dgm:pt modelId="{30810A21-2542-47A4-9642-A98D90120D3F}" type="parTrans" cxnId="{8E40FD06-31DA-4F8E-A196-73EA15327397}">
      <dgm:prSet/>
      <dgm:spPr/>
      <dgm:t>
        <a:bodyPr/>
        <a:lstStyle/>
        <a:p>
          <a:endParaRPr lang="en-US"/>
        </a:p>
      </dgm:t>
    </dgm:pt>
    <dgm:pt modelId="{1BA15D5E-C572-4C7A-A92B-35A2EDF08F59}" type="sibTrans" cxnId="{8E40FD06-31DA-4F8E-A196-73EA15327397}">
      <dgm:prSet/>
      <dgm:spPr/>
      <dgm:t>
        <a:bodyPr/>
        <a:lstStyle/>
        <a:p>
          <a:endParaRPr lang="en-US"/>
        </a:p>
      </dgm:t>
    </dgm:pt>
    <dgm:pt modelId="{17FB4025-576B-4D49-A40A-4CA23E4D7009}">
      <dgm:prSet/>
      <dgm:spPr/>
      <dgm:t>
        <a:bodyPr/>
        <a:lstStyle/>
        <a:p>
          <a:r>
            <a:rPr lang="en-US" baseline="0"/>
            <a:t>Broadcast moves take the results of a step and stores it in a replicated table</a:t>
          </a:r>
          <a:endParaRPr lang="en-US"/>
        </a:p>
      </dgm:t>
    </dgm:pt>
    <dgm:pt modelId="{7E124586-3826-428F-8A9B-1464F7B45359}" type="parTrans" cxnId="{CD847146-25E9-44BF-A2ED-ADE164FAD14F}">
      <dgm:prSet/>
      <dgm:spPr/>
      <dgm:t>
        <a:bodyPr/>
        <a:lstStyle/>
        <a:p>
          <a:endParaRPr lang="en-US"/>
        </a:p>
      </dgm:t>
    </dgm:pt>
    <dgm:pt modelId="{0452A609-3833-4D6A-A186-6179FF67D234}" type="sibTrans" cxnId="{CD847146-25E9-44BF-A2ED-ADE164FAD14F}">
      <dgm:prSet/>
      <dgm:spPr/>
      <dgm:t>
        <a:bodyPr/>
        <a:lstStyle/>
        <a:p>
          <a:endParaRPr lang="en-US"/>
        </a:p>
      </dgm:t>
    </dgm:pt>
    <dgm:pt modelId="{30E85B1F-035B-4689-BE6E-F1A3A651EF1B}">
      <dgm:prSet/>
      <dgm:spPr/>
      <dgm:t>
        <a:bodyPr/>
        <a:lstStyle/>
        <a:p>
          <a:r>
            <a:rPr lang="en-US" baseline="0"/>
            <a:t>Remember: guidance for replicated tables on disk is 2GB</a:t>
          </a:r>
          <a:endParaRPr lang="en-US"/>
        </a:p>
      </dgm:t>
    </dgm:pt>
    <dgm:pt modelId="{0FD87C0F-1493-4444-9A95-39655C3CC9D0}" type="parTrans" cxnId="{213CB0CF-221B-4F8B-94B8-4672D14F715F}">
      <dgm:prSet/>
      <dgm:spPr/>
      <dgm:t>
        <a:bodyPr/>
        <a:lstStyle/>
        <a:p>
          <a:endParaRPr lang="en-US"/>
        </a:p>
      </dgm:t>
    </dgm:pt>
    <dgm:pt modelId="{5CBE7385-82D2-4C71-B3E6-6A680F118FDD}" type="sibTrans" cxnId="{213CB0CF-221B-4F8B-94B8-4672D14F715F}">
      <dgm:prSet/>
      <dgm:spPr/>
      <dgm:t>
        <a:bodyPr/>
        <a:lstStyle/>
        <a:p>
          <a:endParaRPr lang="en-US"/>
        </a:p>
      </dgm:t>
    </dgm:pt>
    <dgm:pt modelId="{4DDE6578-39AC-499C-88BE-5A74ABEAD2EF}">
      <dgm:prSet/>
      <dgm:spPr/>
      <dgm:t>
        <a:bodyPr/>
        <a:lstStyle/>
        <a:p>
          <a:r>
            <a:rPr lang="en-US" baseline="0"/>
            <a:t>Depending on your SLO and workload, “Large” may mean millions, hundreds of millions, or billions of rows processed</a:t>
          </a:r>
          <a:endParaRPr lang="en-US"/>
        </a:p>
      </dgm:t>
    </dgm:pt>
    <dgm:pt modelId="{D6B6CB81-62F8-4433-A552-4FC3D71953C7}" type="parTrans" cxnId="{05A5EA59-A469-4549-A052-CA0CC895D488}">
      <dgm:prSet/>
      <dgm:spPr/>
      <dgm:t>
        <a:bodyPr/>
        <a:lstStyle/>
        <a:p>
          <a:endParaRPr lang="en-US"/>
        </a:p>
      </dgm:t>
    </dgm:pt>
    <dgm:pt modelId="{58ECB3A6-3FF3-47FC-9259-27468800C463}" type="sibTrans" cxnId="{05A5EA59-A469-4549-A052-CA0CC895D488}">
      <dgm:prSet/>
      <dgm:spPr/>
      <dgm:t>
        <a:bodyPr/>
        <a:lstStyle/>
        <a:p>
          <a:endParaRPr lang="en-US"/>
        </a:p>
      </dgm:t>
    </dgm:pt>
    <dgm:pt modelId="{B94DC8FC-C797-41C2-9024-51C6F483B6A6}">
      <dgm:prSet/>
      <dgm:spPr/>
      <dgm:t>
        <a:bodyPr/>
        <a:lstStyle/>
        <a:p>
          <a:r>
            <a:rPr lang="en-US" baseline="0" dirty="0"/>
            <a:t>Shuffle moves are the most efficient operation for your largest data movement steps</a:t>
          </a:r>
          <a:endParaRPr lang="en-US" dirty="0"/>
        </a:p>
      </dgm:t>
    </dgm:pt>
    <dgm:pt modelId="{C61FA32B-1B57-4745-AA00-62DD041C5650}" type="parTrans" cxnId="{9437628E-E1E9-4440-A1CD-39753644D2E4}">
      <dgm:prSet/>
      <dgm:spPr/>
      <dgm:t>
        <a:bodyPr/>
        <a:lstStyle/>
        <a:p>
          <a:endParaRPr lang="en-US"/>
        </a:p>
      </dgm:t>
    </dgm:pt>
    <dgm:pt modelId="{A1080251-7000-4331-805E-90D017B534F5}" type="sibTrans" cxnId="{9437628E-E1E9-4440-A1CD-39753644D2E4}">
      <dgm:prSet/>
      <dgm:spPr/>
      <dgm:t>
        <a:bodyPr/>
        <a:lstStyle/>
        <a:p>
          <a:endParaRPr lang="en-US"/>
        </a:p>
      </dgm:t>
    </dgm:pt>
    <dgm:pt modelId="{87B81F77-0BE7-416A-8BBC-F9A7C6533562}">
      <dgm:prSet/>
      <dgm:spPr/>
      <dgm:t>
        <a:bodyPr/>
        <a:lstStyle/>
        <a:p>
          <a:r>
            <a:rPr lang="en-US" baseline="0" dirty="0"/>
            <a:t>Takes the results of a step and stores it in a distributed table</a:t>
          </a:r>
          <a:endParaRPr lang="en-US" dirty="0"/>
        </a:p>
      </dgm:t>
    </dgm:pt>
    <dgm:pt modelId="{B62BA78F-3C58-404B-ABE4-47291E05AC4E}" type="parTrans" cxnId="{F78D64C1-823A-459B-815C-A796D1391617}">
      <dgm:prSet/>
      <dgm:spPr/>
      <dgm:t>
        <a:bodyPr/>
        <a:lstStyle/>
        <a:p>
          <a:endParaRPr lang="en-US"/>
        </a:p>
      </dgm:t>
    </dgm:pt>
    <dgm:pt modelId="{F79B41C4-681D-469E-BBD2-56FA51E88E14}" type="sibTrans" cxnId="{F78D64C1-823A-459B-815C-A796D1391617}">
      <dgm:prSet/>
      <dgm:spPr/>
      <dgm:t>
        <a:bodyPr/>
        <a:lstStyle/>
        <a:p>
          <a:endParaRPr lang="en-US"/>
        </a:p>
      </dgm:t>
    </dgm:pt>
    <dgm:pt modelId="{DACB8ECF-4498-4911-9CD1-7B0A488E7700}" type="pres">
      <dgm:prSet presAssocID="{C0A58E54-9E1B-4A35-BF87-EE7A941179D3}" presName="linear" presStyleCnt="0">
        <dgm:presLayoutVars>
          <dgm:animLvl val="lvl"/>
          <dgm:resizeHandles val="exact"/>
        </dgm:presLayoutVars>
      </dgm:prSet>
      <dgm:spPr/>
    </dgm:pt>
    <dgm:pt modelId="{C5C13B8A-334C-42A4-B6B0-A99026DF2A8A}" type="pres">
      <dgm:prSet presAssocID="{B40B89B6-6875-462E-A6A6-AE3F347911D0}" presName="parentText" presStyleLbl="node1" presStyleIdx="0" presStyleCnt="3">
        <dgm:presLayoutVars>
          <dgm:chMax val="0"/>
          <dgm:bulletEnabled val="1"/>
        </dgm:presLayoutVars>
      </dgm:prSet>
      <dgm:spPr/>
    </dgm:pt>
    <dgm:pt modelId="{ABF1713D-E807-4A07-A54E-0ECCF37A947D}" type="pres">
      <dgm:prSet presAssocID="{5C54189C-82FA-4537-87A4-77AFAC4CAA8F}" presName="spacer" presStyleCnt="0"/>
      <dgm:spPr/>
    </dgm:pt>
    <dgm:pt modelId="{39E3DCFB-E1FB-4F90-BE39-8EF689FB607E}" type="pres">
      <dgm:prSet presAssocID="{78A3F6EF-9D2A-4770-9DDE-C61BB4643BEC}" presName="parentText" presStyleLbl="node1" presStyleIdx="1" presStyleCnt="3">
        <dgm:presLayoutVars>
          <dgm:chMax val="0"/>
          <dgm:bulletEnabled val="1"/>
        </dgm:presLayoutVars>
      </dgm:prSet>
      <dgm:spPr/>
    </dgm:pt>
    <dgm:pt modelId="{26555F72-3021-40A7-8926-3D3898F027B0}" type="pres">
      <dgm:prSet presAssocID="{78A3F6EF-9D2A-4770-9DDE-C61BB4643BEC}" presName="childText" presStyleLbl="revTx" presStyleIdx="0" presStyleCnt="2">
        <dgm:presLayoutVars>
          <dgm:bulletEnabled val="1"/>
        </dgm:presLayoutVars>
      </dgm:prSet>
      <dgm:spPr/>
    </dgm:pt>
    <dgm:pt modelId="{1EB222A6-F037-4856-9DD0-498744F41BF3}" type="pres">
      <dgm:prSet presAssocID="{B94DC8FC-C797-41C2-9024-51C6F483B6A6}" presName="parentText" presStyleLbl="node1" presStyleIdx="2" presStyleCnt="3">
        <dgm:presLayoutVars>
          <dgm:chMax val="0"/>
          <dgm:bulletEnabled val="1"/>
        </dgm:presLayoutVars>
      </dgm:prSet>
      <dgm:spPr/>
    </dgm:pt>
    <dgm:pt modelId="{DE15204B-123E-4E87-81BB-36F3ACF1A73C}" type="pres">
      <dgm:prSet presAssocID="{B94DC8FC-C797-41C2-9024-51C6F483B6A6}" presName="childText" presStyleLbl="revTx" presStyleIdx="1" presStyleCnt="2">
        <dgm:presLayoutVars>
          <dgm:bulletEnabled val="1"/>
        </dgm:presLayoutVars>
      </dgm:prSet>
      <dgm:spPr/>
    </dgm:pt>
  </dgm:ptLst>
  <dgm:cxnLst>
    <dgm:cxn modelId="{E4C17806-F0AF-4B5F-8D19-F8FB16DE7F03}" type="presOf" srcId="{B94DC8FC-C797-41C2-9024-51C6F483B6A6}" destId="{1EB222A6-F037-4856-9DD0-498744F41BF3}" srcOrd="0" destOrd="0" presId="urn:microsoft.com/office/officeart/2005/8/layout/vList2"/>
    <dgm:cxn modelId="{8E40FD06-31DA-4F8E-A196-73EA15327397}" srcId="{C0A58E54-9E1B-4A35-BF87-EE7A941179D3}" destId="{78A3F6EF-9D2A-4770-9DDE-C61BB4643BEC}" srcOrd="1" destOrd="0" parTransId="{30810A21-2542-47A4-9642-A98D90120D3F}" sibTransId="{1BA15D5E-C572-4C7A-A92B-35A2EDF08F59}"/>
    <dgm:cxn modelId="{8A6A1D1A-3527-4C3D-BBA9-3DA8CB0ED048}" type="presOf" srcId="{78A3F6EF-9D2A-4770-9DDE-C61BB4643BEC}" destId="{39E3DCFB-E1FB-4F90-BE39-8EF689FB607E}" srcOrd="0" destOrd="0" presId="urn:microsoft.com/office/officeart/2005/8/layout/vList2"/>
    <dgm:cxn modelId="{EB3C593E-EDFE-4065-8568-2EB0B215F329}" type="presOf" srcId="{17FB4025-576B-4D49-A40A-4CA23E4D7009}" destId="{26555F72-3021-40A7-8926-3D3898F027B0}" srcOrd="0" destOrd="0" presId="urn:microsoft.com/office/officeart/2005/8/layout/vList2"/>
    <dgm:cxn modelId="{CD847146-25E9-44BF-A2ED-ADE164FAD14F}" srcId="{78A3F6EF-9D2A-4770-9DDE-C61BB4643BEC}" destId="{17FB4025-576B-4D49-A40A-4CA23E4D7009}" srcOrd="0" destOrd="0" parTransId="{7E124586-3826-428F-8A9B-1464F7B45359}" sibTransId="{0452A609-3833-4D6A-A186-6179FF67D234}"/>
    <dgm:cxn modelId="{05A5EA59-A469-4549-A052-CA0CC895D488}" srcId="{78A3F6EF-9D2A-4770-9DDE-C61BB4643BEC}" destId="{4DDE6578-39AC-499C-88BE-5A74ABEAD2EF}" srcOrd="2" destOrd="0" parTransId="{D6B6CB81-62F8-4433-A552-4FC3D71953C7}" sibTransId="{58ECB3A6-3FF3-47FC-9259-27468800C463}"/>
    <dgm:cxn modelId="{9437628E-E1E9-4440-A1CD-39753644D2E4}" srcId="{C0A58E54-9E1B-4A35-BF87-EE7A941179D3}" destId="{B94DC8FC-C797-41C2-9024-51C6F483B6A6}" srcOrd="2" destOrd="0" parTransId="{C61FA32B-1B57-4745-AA00-62DD041C5650}" sibTransId="{A1080251-7000-4331-805E-90D017B534F5}"/>
    <dgm:cxn modelId="{F25547A8-B517-4B2B-9BD9-C054B0AFAC32}" type="presOf" srcId="{C0A58E54-9E1B-4A35-BF87-EE7A941179D3}" destId="{DACB8ECF-4498-4911-9CD1-7B0A488E7700}" srcOrd="0" destOrd="0" presId="urn:microsoft.com/office/officeart/2005/8/layout/vList2"/>
    <dgm:cxn modelId="{4274BBB1-3D44-468C-BFB5-0BD07B815F1D}" type="presOf" srcId="{87B81F77-0BE7-416A-8BBC-F9A7C6533562}" destId="{DE15204B-123E-4E87-81BB-36F3ACF1A73C}" srcOrd="0" destOrd="0" presId="urn:microsoft.com/office/officeart/2005/8/layout/vList2"/>
    <dgm:cxn modelId="{00944BBA-3612-4699-85E8-B86B572DC6EC}" type="presOf" srcId="{B40B89B6-6875-462E-A6A6-AE3F347911D0}" destId="{C5C13B8A-334C-42A4-B6B0-A99026DF2A8A}" srcOrd="0" destOrd="0" presId="urn:microsoft.com/office/officeart/2005/8/layout/vList2"/>
    <dgm:cxn modelId="{F78D64C1-823A-459B-815C-A796D1391617}" srcId="{B94DC8FC-C797-41C2-9024-51C6F483B6A6}" destId="{87B81F77-0BE7-416A-8BBC-F9A7C6533562}" srcOrd="0" destOrd="0" parTransId="{B62BA78F-3C58-404B-ABE4-47291E05AC4E}" sibTransId="{F79B41C4-681D-469E-BBD2-56FA51E88E14}"/>
    <dgm:cxn modelId="{213CB0CF-221B-4F8B-94B8-4672D14F715F}" srcId="{78A3F6EF-9D2A-4770-9DDE-C61BB4643BEC}" destId="{30E85B1F-035B-4689-BE6E-F1A3A651EF1B}" srcOrd="1" destOrd="0" parTransId="{0FD87C0F-1493-4444-9A95-39655C3CC9D0}" sibTransId="{5CBE7385-82D2-4C71-B3E6-6A680F118FDD}"/>
    <dgm:cxn modelId="{7D6E6DEB-B03F-489C-AA14-10FB4E09EBC2}" type="presOf" srcId="{30E85B1F-035B-4689-BE6E-F1A3A651EF1B}" destId="{26555F72-3021-40A7-8926-3D3898F027B0}" srcOrd="0" destOrd="1" presId="urn:microsoft.com/office/officeart/2005/8/layout/vList2"/>
    <dgm:cxn modelId="{BAD64DF0-4A23-4A78-AE04-598DE947CA00}" srcId="{C0A58E54-9E1B-4A35-BF87-EE7A941179D3}" destId="{B40B89B6-6875-462E-A6A6-AE3F347911D0}" srcOrd="0" destOrd="0" parTransId="{048BE61D-9F2A-4EBE-A317-017826C4EF3F}" sibTransId="{5C54189C-82FA-4537-87A4-77AFAC4CAA8F}"/>
    <dgm:cxn modelId="{8ABAABFD-1109-4AA3-A1C1-3A6CBCB951C4}" type="presOf" srcId="{4DDE6578-39AC-499C-88BE-5A74ABEAD2EF}" destId="{26555F72-3021-40A7-8926-3D3898F027B0}" srcOrd="0" destOrd="2" presId="urn:microsoft.com/office/officeart/2005/8/layout/vList2"/>
    <dgm:cxn modelId="{88C391E7-3FD4-40DC-B1A3-26788F8917D5}" type="presParOf" srcId="{DACB8ECF-4498-4911-9CD1-7B0A488E7700}" destId="{C5C13B8A-334C-42A4-B6B0-A99026DF2A8A}" srcOrd="0" destOrd="0" presId="urn:microsoft.com/office/officeart/2005/8/layout/vList2"/>
    <dgm:cxn modelId="{4AFC2475-6F2F-46A8-B7C0-A461906D1BC0}" type="presParOf" srcId="{DACB8ECF-4498-4911-9CD1-7B0A488E7700}" destId="{ABF1713D-E807-4A07-A54E-0ECCF37A947D}" srcOrd="1" destOrd="0" presId="urn:microsoft.com/office/officeart/2005/8/layout/vList2"/>
    <dgm:cxn modelId="{C6C2FF9B-F3B0-450C-B039-B5F446819AED}" type="presParOf" srcId="{DACB8ECF-4498-4911-9CD1-7B0A488E7700}" destId="{39E3DCFB-E1FB-4F90-BE39-8EF689FB607E}" srcOrd="2" destOrd="0" presId="urn:microsoft.com/office/officeart/2005/8/layout/vList2"/>
    <dgm:cxn modelId="{CDD61D79-A3C2-4886-AE7E-9BE980A4F02B}" type="presParOf" srcId="{DACB8ECF-4498-4911-9CD1-7B0A488E7700}" destId="{26555F72-3021-40A7-8926-3D3898F027B0}" srcOrd="3" destOrd="0" presId="urn:microsoft.com/office/officeart/2005/8/layout/vList2"/>
    <dgm:cxn modelId="{4596ABAD-2D25-40A2-A74A-FC6C11A3E3F5}" type="presParOf" srcId="{DACB8ECF-4498-4911-9CD1-7B0A488E7700}" destId="{1EB222A6-F037-4856-9DD0-498744F41BF3}" srcOrd="4" destOrd="0" presId="urn:microsoft.com/office/officeart/2005/8/layout/vList2"/>
    <dgm:cxn modelId="{9B283239-06BB-4955-B45E-270CA4E995D0}" type="presParOf" srcId="{DACB8ECF-4498-4911-9CD1-7B0A488E7700}" destId="{DE15204B-123E-4E87-81BB-36F3ACF1A73C}" srcOrd="5"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87A014F-1785-4403-99D5-966EDED4F2E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707AE4D-E7CD-44E5-8955-A3E8AF0B5B59}">
      <dgm:prSet custT="1"/>
      <dgm:spPr/>
      <dgm:t>
        <a:bodyPr/>
        <a:lstStyle/>
        <a:p>
          <a:r>
            <a:rPr lang="en-US" sz="1800" baseline="0" dirty="0"/>
            <a:t>What operation in the query is currently executing?</a:t>
          </a:r>
          <a:endParaRPr lang="en-US" sz="1800" dirty="0"/>
        </a:p>
      </dgm:t>
    </dgm:pt>
    <dgm:pt modelId="{7DD9B50D-E2A2-4C0B-8808-3A7430F53097}" type="parTrans" cxnId="{165D0C4E-FD28-4417-8D11-D0A296EF3B1C}">
      <dgm:prSet/>
      <dgm:spPr/>
      <dgm:t>
        <a:bodyPr/>
        <a:lstStyle/>
        <a:p>
          <a:endParaRPr lang="en-US"/>
        </a:p>
      </dgm:t>
    </dgm:pt>
    <dgm:pt modelId="{90699DEF-C2F1-4BAF-ACBE-31281807A519}" type="sibTrans" cxnId="{165D0C4E-FD28-4417-8D11-D0A296EF3B1C}">
      <dgm:prSet/>
      <dgm:spPr/>
      <dgm:t>
        <a:bodyPr/>
        <a:lstStyle/>
        <a:p>
          <a:endParaRPr lang="en-US"/>
        </a:p>
      </dgm:t>
    </dgm:pt>
    <dgm:pt modelId="{C608C96C-CEF4-4518-B8D9-B1F57916C880}">
      <dgm:prSet custT="1"/>
      <dgm:spPr/>
      <dgm:t>
        <a:bodyPr/>
        <a:lstStyle/>
        <a:p>
          <a:r>
            <a:rPr lang="en-US" sz="1800" baseline="0" dirty="0"/>
            <a:t>Exec Requests</a:t>
          </a:r>
          <a:endParaRPr lang="en-US" sz="1800" dirty="0"/>
        </a:p>
      </dgm:t>
    </dgm:pt>
    <dgm:pt modelId="{4BABFFDE-F7F5-4BF9-B3F9-B5EACB401FBF}" type="parTrans" cxnId="{900BAA4B-5716-4B57-92C9-1BD0951A7898}">
      <dgm:prSet/>
      <dgm:spPr/>
      <dgm:t>
        <a:bodyPr/>
        <a:lstStyle/>
        <a:p>
          <a:endParaRPr lang="en-US"/>
        </a:p>
      </dgm:t>
    </dgm:pt>
    <dgm:pt modelId="{600DCD0B-AEF5-42DE-B708-9BE4FD37D6FE}" type="sibTrans" cxnId="{900BAA4B-5716-4B57-92C9-1BD0951A7898}">
      <dgm:prSet/>
      <dgm:spPr/>
      <dgm:t>
        <a:bodyPr/>
        <a:lstStyle/>
        <a:p>
          <a:endParaRPr lang="en-US"/>
        </a:p>
      </dgm:t>
    </dgm:pt>
    <dgm:pt modelId="{B238D046-268E-45C6-A6CD-B0C1CD2EDCA3}">
      <dgm:prSet custT="1"/>
      <dgm:spPr/>
      <dgm:t>
        <a:bodyPr/>
        <a:lstStyle/>
        <a:p>
          <a:r>
            <a:rPr lang="en-US" sz="1800" baseline="0" dirty="0"/>
            <a:t>Request Steps</a:t>
          </a:r>
          <a:endParaRPr lang="en-US" sz="1800" dirty="0"/>
        </a:p>
      </dgm:t>
    </dgm:pt>
    <dgm:pt modelId="{8A8C58D1-363B-4119-B59D-33BDD191C143}" type="parTrans" cxnId="{EE8AE1F1-2ED7-4799-8CB0-32BC2F1B1CBE}">
      <dgm:prSet/>
      <dgm:spPr/>
      <dgm:t>
        <a:bodyPr/>
        <a:lstStyle/>
        <a:p>
          <a:endParaRPr lang="en-US"/>
        </a:p>
      </dgm:t>
    </dgm:pt>
    <dgm:pt modelId="{F760E431-769E-4DC2-989D-7D07E8D92832}" type="sibTrans" cxnId="{EE8AE1F1-2ED7-4799-8CB0-32BC2F1B1CBE}">
      <dgm:prSet/>
      <dgm:spPr/>
      <dgm:t>
        <a:bodyPr/>
        <a:lstStyle/>
        <a:p>
          <a:endParaRPr lang="en-US"/>
        </a:p>
      </dgm:t>
    </dgm:pt>
    <dgm:pt modelId="{F0139FA7-02B6-4B73-A433-E9B5AFE8D3D6}">
      <dgm:prSet custT="1"/>
      <dgm:spPr/>
      <dgm:t>
        <a:bodyPr/>
        <a:lstStyle/>
        <a:p>
          <a:r>
            <a:rPr lang="en-US" sz="1800" baseline="0" dirty="0"/>
            <a:t>DMS Workers –or- SQL Requests</a:t>
          </a:r>
          <a:endParaRPr lang="en-US" sz="1800" dirty="0"/>
        </a:p>
      </dgm:t>
    </dgm:pt>
    <dgm:pt modelId="{F29B9E8C-DBCD-445C-8DA8-1C619C5E117F}" type="parTrans" cxnId="{324893F2-E6B3-405D-AC67-800B9403B3CA}">
      <dgm:prSet/>
      <dgm:spPr/>
      <dgm:t>
        <a:bodyPr/>
        <a:lstStyle/>
        <a:p>
          <a:endParaRPr lang="en-US"/>
        </a:p>
      </dgm:t>
    </dgm:pt>
    <dgm:pt modelId="{C20A97E9-6BE5-48CB-9AFA-52E3C62BD42B}" type="sibTrans" cxnId="{324893F2-E6B3-405D-AC67-800B9403B3CA}">
      <dgm:prSet/>
      <dgm:spPr/>
      <dgm:t>
        <a:bodyPr/>
        <a:lstStyle/>
        <a:p>
          <a:endParaRPr lang="en-US"/>
        </a:p>
      </dgm:t>
    </dgm:pt>
    <dgm:pt modelId="{82007B5A-A337-4E7D-A20F-47D5C49E2F77}">
      <dgm:prSet custT="1"/>
      <dgm:spPr/>
      <dgm:t>
        <a:bodyPr/>
        <a:lstStyle/>
        <a:p>
          <a:r>
            <a:rPr lang="en-US" sz="1800" baseline="0" dirty="0"/>
            <a:t>How long has this step been running?</a:t>
          </a:r>
          <a:endParaRPr lang="en-US" sz="1800" dirty="0"/>
        </a:p>
      </dgm:t>
    </dgm:pt>
    <dgm:pt modelId="{9197290C-8625-4FF2-856A-5631089069A6}" type="parTrans" cxnId="{F29B2CAC-CC27-4F51-B3A5-C08D1AB527DA}">
      <dgm:prSet/>
      <dgm:spPr/>
      <dgm:t>
        <a:bodyPr/>
        <a:lstStyle/>
        <a:p>
          <a:endParaRPr lang="en-US"/>
        </a:p>
      </dgm:t>
    </dgm:pt>
    <dgm:pt modelId="{44D3BA4D-E69C-449A-868F-25C167BE63D2}" type="sibTrans" cxnId="{F29B2CAC-CC27-4F51-B3A5-C08D1AB527DA}">
      <dgm:prSet/>
      <dgm:spPr/>
      <dgm:t>
        <a:bodyPr/>
        <a:lstStyle/>
        <a:p>
          <a:endParaRPr lang="en-US"/>
        </a:p>
      </dgm:t>
    </dgm:pt>
    <dgm:pt modelId="{8398F73D-E650-4954-B0B0-AA06D1C27F81}">
      <dgm:prSet custT="1"/>
      <dgm:spPr/>
      <dgm:t>
        <a:bodyPr/>
        <a:lstStyle/>
        <a:p>
          <a:r>
            <a:rPr lang="en-US" sz="1800" baseline="0" dirty="0"/>
            <a:t>Request Steps or DMS workers</a:t>
          </a:r>
          <a:endParaRPr lang="en-US" sz="1800" dirty="0"/>
        </a:p>
      </dgm:t>
    </dgm:pt>
    <dgm:pt modelId="{654EF4F0-640E-4E6A-A5A7-EB46E945BDD7}" type="parTrans" cxnId="{39E7B0C0-DFC3-455F-8B7C-DC266014FD72}">
      <dgm:prSet/>
      <dgm:spPr/>
      <dgm:t>
        <a:bodyPr/>
        <a:lstStyle/>
        <a:p>
          <a:endParaRPr lang="en-US"/>
        </a:p>
      </dgm:t>
    </dgm:pt>
    <dgm:pt modelId="{D7734097-5C5A-4233-BEE3-2F27A0053F45}" type="sibTrans" cxnId="{39E7B0C0-DFC3-455F-8B7C-DC266014FD72}">
      <dgm:prSet/>
      <dgm:spPr/>
      <dgm:t>
        <a:bodyPr/>
        <a:lstStyle/>
        <a:p>
          <a:endParaRPr lang="en-US"/>
        </a:p>
      </dgm:t>
    </dgm:pt>
    <dgm:pt modelId="{00F8499F-E092-4C96-A28D-B6D0143A742E}">
      <dgm:prSet custT="1"/>
      <dgm:spPr/>
      <dgm:t>
        <a:bodyPr/>
        <a:lstStyle/>
        <a:p>
          <a:r>
            <a:rPr lang="en-US" sz="1800" baseline="0" dirty="0"/>
            <a:t>Data Movement operations </a:t>
          </a:r>
          <a:endParaRPr lang="en-US" sz="1800" dirty="0"/>
        </a:p>
      </dgm:t>
    </dgm:pt>
    <dgm:pt modelId="{70B7691C-386F-463C-9748-21BBB6D3558F}" type="parTrans" cxnId="{8B0B71A8-5579-4296-BDB2-3CA1A98E35CF}">
      <dgm:prSet/>
      <dgm:spPr/>
      <dgm:t>
        <a:bodyPr/>
        <a:lstStyle/>
        <a:p>
          <a:endParaRPr lang="en-US"/>
        </a:p>
      </dgm:t>
    </dgm:pt>
    <dgm:pt modelId="{CC699B40-543F-4E16-B765-5CD5F4A6FD4D}" type="sibTrans" cxnId="{8B0B71A8-5579-4296-BDB2-3CA1A98E35CF}">
      <dgm:prSet/>
      <dgm:spPr/>
      <dgm:t>
        <a:bodyPr/>
        <a:lstStyle/>
        <a:p>
          <a:endParaRPr lang="en-US"/>
        </a:p>
      </dgm:t>
    </dgm:pt>
    <dgm:pt modelId="{4FBC812E-D31F-4595-BD8C-974F94F6224E}">
      <dgm:prSet custT="1"/>
      <dgm:spPr/>
      <dgm:t>
        <a:bodyPr/>
        <a:lstStyle/>
        <a:p>
          <a:r>
            <a:rPr lang="en-US" sz="1800" baseline="0"/>
            <a:t>How many distributions are executing?</a:t>
          </a:r>
          <a:endParaRPr lang="en-US" sz="1800"/>
        </a:p>
      </dgm:t>
    </dgm:pt>
    <dgm:pt modelId="{3F87AB66-1BEF-4D9B-A7C3-74ECDEC5C566}" type="parTrans" cxnId="{7CD73B30-BBA7-41A3-B2B5-E520F4014B28}">
      <dgm:prSet/>
      <dgm:spPr/>
      <dgm:t>
        <a:bodyPr/>
        <a:lstStyle/>
        <a:p>
          <a:endParaRPr lang="en-US"/>
        </a:p>
      </dgm:t>
    </dgm:pt>
    <dgm:pt modelId="{7CB0EA10-9BD2-436D-AD7F-709D1E1A5949}" type="sibTrans" cxnId="{7CD73B30-BBA7-41A3-B2B5-E520F4014B28}">
      <dgm:prSet/>
      <dgm:spPr/>
      <dgm:t>
        <a:bodyPr/>
        <a:lstStyle/>
        <a:p>
          <a:endParaRPr lang="en-US"/>
        </a:p>
      </dgm:t>
    </dgm:pt>
    <dgm:pt modelId="{C2CBC92A-1374-4632-A297-E80BC75B3638}">
      <dgm:prSet custT="1"/>
      <dgm:spPr/>
      <dgm:t>
        <a:bodyPr/>
        <a:lstStyle/>
        <a:p>
          <a:r>
            <a:rPr lang="en-US" sz="1800" b="0" baseline="0" dirty="0"/>
            <a:t>Is ‘rows processed’ increasing?</a:t>
          </a:r>
          <a:endParaRPr lang="en-US" sz="1800" b="0" dirty="0"/>
        </a:p>
      </dgm:t>
    </dgm:pt>
    <dgm:pt modelId="{ED6E8855-6387-4A38-AF7D-F44D372057B2}" type="parTrans" cxnId="{51A251D8-3305-4EB0-A1E7-365C0CBA09B0}">
      <dgm:prSet/>
      <dgm:spPr/>
      <dgm:t>
        <a:bodyPr/>
        <a:lstStyle/>
        <a:p>
          <a:endParaRPr lang="en-US"/>
        </a:p>
      </dgm:t>
    </dgm:pt>
    <dgm:pt modelId="{D5D096BF-EC27-43BE-A8D8-2F182DED5966}" type="sibTrans" cxnId="{51A251D8-3305-4EB0-A1E7-365C0CBA09B0}">
      <dgm:prSet/>
      <dgm:spPr/>
      <dgm:t>
        <a:bodyPr/>
        <a:lstStyle/>
        <a:p>
          <a:endParaRPr lang="en-US"/>
        </a:p>
      </dgm:t>
    </dgm:pt>
    <dgm:pt modelId="{B5CEAAC2-DF72-4BB5-B3E0-F21258908ABE}">
      <dgm:prSet custT="1"/>
      <dgm:spPr/>
      <dgm:t>
        <a:bodyPr/>
        <a:lstStyle/>
        <a:p>
          <a:r>
            <a:rPr lang="en-US" sz="1800" b="0" baseline="0" dirty="0"/>
            <a:t>How many rows have been processed so far?</a:t>
          </a:r>
          <a:endParaRPr lang="en-US" sz="1800" b="0" dirty="0"/>
        </a:p>
      </dgm:t>
    </dgm:pt>
    <dgm:pt modelId="{CD9942E9-1256-4BCA-A9FC-3E5F0822692E}" type="parTrans" cxnId="{7C7E1F6E-9BDE-4903-BBEE-E2B85FF913A2}">
      <dgm:prSet/>
      <dgm:spPr/>
      <dgm:t>
        <a:bodyPr/>
        <a:lstStyle/>
        <a:p>
          <a:endParaRPr lang="en-US"/>
        </a:p>
      </dgm:t>
    </dgm:pt>
    <dgm:pt modelId="{233A51B1-9A40-4E1B-A477-108A3C65F85F}" type="sibTrans" cxnId="{7C7E1F6E-9BDE-4903-BBEE-E2B85FF913A2}">
      <dgm:prSet/>
      <dgm:spPr/>
      <dgm:t>
        <a:bodyPr/>
        <a:lstStyle/>
        <a:p>
          <a:endParaRPr lang="en-US"/>
        </a:p>
      </dgm:t>
    </dgm:pt>
    <dgm:pt modelId="{B4DF706D-5CB9-4F79-9DBB-50ED79688989}">
      <dgm:prSet custT="1"/>
      <dgm:spPr/>
      <dgm:t>
        <a:bodyPr/>
        <a:lstStyle/>
        <a:p>
          <a:r>
            <a:rPr lang="en-US" sz="1800" baseline="0"/>
            <a:t>SQL Requests</a:t>
          </a:r>
          <a:endParaRPr lang="en-US" sz="1800"/>
        </a:p>
      </dgm:t>
    </dgm:pt>
    <dgm:pt modelId="{A63A4C5E-D6A1-4FF5-83A4-BB2D1EF6FE5F}" type="parTrans" cxnId="{4E15636D-46C0-4714-8E58-45A3E4274A52}">
      <dgm:prSet/>
      <dgm:spPr/>
      <dgm:t>
        <a:bodyPr/>
        <a:lstStyle/>
        <a:p>
          <a:endParaRPr lang="en-US"/>
        </a:p>
      </dgm:t>
    </dgm:pt>
    <dgm:pt modelId="{C52B4652-7900-4C72-9599-17E451D067DD}" type="sibTrans" cxnId="{4E15636D-46C0-4714-8E58-45A3E4274A52}">
      <dgm:prSet/>
      <dgm:spPr/>
      <dgm:t>
        <a:bodyPr/>
        <a:lstStyle/>
        <a:p>
          <a:endParaRPr lang="en-US"/>
        </a:p>
      </dgm:t>
    </dgm:pt>
    <dgm:pt modelId="{BD2F67B8-1923-4552-8F03-CA5A3387FC63}">
      <dgm:prSet custT="1"/>
      <dgm:spPr/>
      <dgm:t>
        <a:bodyPr/>
        <a:lstStyle/>
        <a:p>
          <a:r>
            <a:rPr lang="en-US" sz="1800" baseline="0" dirty="0"/>
            <a:t>How many distributions are executing?</a:t>
          </a:r>
          <a:endParaRPr lang="en-US" sz="1800" dirty="0"/>
        </a:p>
      </dgm:t>
    </dgm:pt>
    <dgm:pt modelId="{ECAF5877-3322-4780-A8CA-608FFE66678C}" type="parTrans" cxnId="{4D7739A4-D5D5-488B-BE5E-474338484D0A}">
      <dgm:prSet/>
      <dgm:spPr/>
      <dgm:t>
        <a:bodyPr/>
        <a:lstStyle/>
        <a:p>
          <a:endParaRPr lang="en-US"/>
        </a:p>
      </dgm:t>
    </dgm:pt>
    <dgm:pt modelId="{620A0EE7-16A8-4736-AAE3-05A3C563BC45}" type="sibTrans" cxnId="{4D7739A4-D5D5-488B-BE5E-474338484D0A}">
      <dgm:prSet/>
      <dgm:spPr/>
      <dgm:t>
        <a:bodyPr/>
        <a:lstStyle/>
        <a:p>
          <a:endParaRPr lang="en-US"/>
        </a:p>
      </dgm:t>
    </dgm:pt>
    <dgm:pt modelId="{BF1B1B80-38BA-4B31-A7CD-111B3732154D}">
      <dgm:prSet custT="1"/>
      <dgm:spPr/>
      <dgm:t>
        <a:bodyPr/>
        <a:lstStyle/>
        <a:p>
          <a:r>
            <a:rPr lang="en-US" sz="1800" baseline="0" dirty="0"/>
            <a:t>Look at the query plan with DBCC PDW_SHOWEXECUTIONPLAN</a:t>
          </a:r>
          <a:endParaRPr lang="en-US" sz="1800" dirty="0"/>
        </a:p>
      </dgm:t>
    </dgm:pt>
    <dgm:pt modelId="{9D3BF464-F71A-4BA6-A72C-2E3B9E85668D}" type="parTrans" cxnId="{7F27DA51-3361-4FAA-8DF0-8FBFAF33BFD9}">
      <dgm:prSet/>
      <dgm:spPr/>
      <dgm:t>
        <a:bodyPr/>
        <a:lstStyle/>
        <a:p>
          <a:endParaRPr lang="en-US"/>
        </a:p>
      </dgm:t>
    </dgm:pt>
    <dgm:pt modelId="{17EE9E59-2E5F-44AB-97EE-C8579E34604B}" type="sibTrans" cxnId="{7F27DA51-3361-4FAA-8DF0-8FBFAF33BFD9}">
      <dgm:prSet/>
      <dgm:spPr/>
      <dgm:t>
        <a:bodyPr/>
        <a:lstStyle/>
        <a:p>
          <a:endParaRPr lang="en-US"/>
        </a:p>
      </dgm:t>
    </dgm:pt>
    <dgm:pt modelId="{6E81C69B-E01F-4F0E-8319-A0FBFE5DE6BE}">
      <dgm:prSet custT="1"/>
      <dgm:spPr/>
      <dgm:t>
        <a:bodyPr/>
        <a:lstStyle/>
        <a:p>
          <a:r>
            <a:rPr lang="en-US" sz="1800" dirty="0"/>
            <a:t>Return Operations:</a:t>
          </a:r>
        </a:p>
      </dgm:t>
    </dgm:pt>
    <dgm:pt modelId="{C6A6FB68-5344-4095-AC2B-CB0402FB5C70}" type="parTrans" cxnId="{0EC7BF90-55D2-4A03-98CF-FF501E761DC9}">
      <dgm:prSet/>
      <dgm:spPr/>
      <dgm:t>
        <a:bodyPr/>
        <a:lstStyle/>
        <a:p>
          <a:endParaRPr lang="en-US"/>
        </a:p>
      </dgm:t>
    </dgm:pt>
    <dgm:pt modelId="{1849B98A-372E-4693-9728-71EBC1A07540}" type="sibTrans" cxnId="{0EC7BF90-55D2-4A03-98CF-FF501E761DC9}">
      <dgm:prSet/>
      <dgm:spPr/>
      <dgm:t>
        <a:bodyPr/>
        <a:lstStyle/>
        <a:p>
          <a:endParaRPr lang="en-US"/>
        </a:p>
      </dgm:t>
    </dgm:pt>
    <dgm:pt modelId="{672C3022-888E-4A24-8907-27E8697771D6}">
      <dgm:prSet custT="1"/>
      <dgm:spPr/>
      <dgm:t>
        <a:bodyPr/>
        <a:lstStyle/>
        <a:p>
          <a:endParaRPr lang="en-US" sz="1600" dirty="0"/>
        </a:p>
      </dgm:t>
    </dgm:pt>
    <dgm:pt modelId="{021CCEC3-4B83-4210-9F03-31CBD8FCA8BC}" type="parTrans" cxnId="{93406424-5CF3-4905-9456-7D7DEB170A42}">
      <dgm:prSet/>
      <dgm:spPr/>
      <dgm:t>
        <a:bodyPr/>
        <a:lstStyle/>
        <a:p>
          <a:endParaRPr lang="en-US"/>
        </a:p>
      </dgm:t>
    </dgm:pt>
    <dgm:pt modelId="{05A2D5AE-51DB-4A78-95A8-27234F97B061}" type="sibTrans" cxnId="{93406424-5CF3-4905-9456-7D7DEB170A42}">
      <dgm:prSet/>
      <dgm:spPr/>
      <dgm:t>
        <a:bodyPr/>
        <a:lstStyle/>
        <a:p>
          <a:endParaRPr lang="en-US"/>
        </a:p>
      </dgm:t>
    </dgm:pt>
    <dgm:pt modelId="{CF2B94D3-7650-4A6F-A445-7F3B50ADB31B}" type="pres">
      <dgm:prSet presAssocID="{487A014F-1785-4403-99D5-966EDED4F2E0}" presName="linear" presStyleCnt="0">
        <dgm:presLayoutVars>
          <dgm:animLvl val="lvl"/>
          <dgm:resizeHandles val="exact"/>
        </dgm:presLayoutVars>
      </dgm:prSet>
      <dgm:spPr/>
    </dgm:pt>
    <dgm:pt modelId="{46F912F9-95EC-4D82-8576-DFA1B5BC2CA3}" type="pres">
      <dgm:prSet presAssocID="{1707AE4D-E7CD-44E5-8955-A3E8AF0B5B59}" presName="parentText" presStyleLbl="node1" presStyleIdx="0" presStyleCnt="4">
        <dgm:presLayoutVars>
          <dgm:chMax val="0"/>
          <dgm:bulletEnabled val="1"/>
        </dgm:presLayoutVars>
      </dgm:prSet>
      <dgm:spPr/>
    </dgm:pt>
    <dgm:pt modelId="{E9AA3800-28D4-4149-9485-6278840B6B1D}" type="pres">
      <dgm:prSet presAssocID="{1707AE4D-E7CD-44E5-8955-A3E8AF0B5B59}" presName="childText" presStyleLbl="revTx" presStyleIdx="0" presStyleCnt="4">
        <dgm:presLayoutVars>
          <dgm:bulletEnabled val="1"/>
        </dgm:presLayoutVars>
      </dgm:prSet>
      <dgm:spPr/>
    </dgm:pt>
    <dgm:pt modelId="{AEE11B65-395C-44F4-B365-AC1000DBD957}" type="pres">
      <dgm:prSet presAssocID="{82007B5A-A337-4E7D-A20F-47D5C49E2F77}" presName="parentText" presStyleLbl="node1" presStyleIdx="1" presStyleCnt="4">
        <dgm:presLayoutVars>
          <dgm:chMax val="0"/>
          <dgm:bulletEnabled val="1"/>
        </dgm:presLayoutVars>
      </dgm:prSet>
      <dgm:spPr/>
    </dgm:pt>
    <dgm:pt modelId="{C380E710-689E-42FD-99FD-728A9A298AD7}" type="pres">
      <dgm:prSet presAssocID="{82007B5A-A337-4E7D-A20F-47D5C49E2F77}" presName="childText" presStyleLbl="revTx" presStyleIdx="1" presStyleCnt="4">
        <dgm:presLayoutVars>
          <dgm:bulletEnabled val="1"/>
        </dgm:presLayoutVars>
      </dgm:prSet>
      <dgm:spPr/>
    </dgm:pt>
    <dgm:pt modelId="{1A089BF9-CE2C-489B-B1CE-C7E3E24A21D9}" type="pres">
      <dgm:prSet presAssocID="{00F8499F-E092-4C96-A28D-B6D0143A742E}" presName="parentText" presStyleLbl="node1" presStyleIdx="2" presStyleCnt="4">
        <dgm:presLayoutVars>
          <dgm:chMax val="0"/>
          <dgm:bulletEnabled val="1"/>
        </dgm:presLayoutVars>
      </dgm:prSet>
      <dgm:spPr/>
    </dgm:pt>
    <dgm:pt modelId="{CAEFDEA2-1648-4746-BD05-603A18C1E785}" type="pres">
      <dgm:prSet presAssocID="{00F8499F-E092-4C96-A28D-B6D0143A742E}" presName="childText" presStyleLbl="revTx" presStyleIdx="2" presStyleCnt="4">
        <dgm:presLayoutVars>
          <dgm:bulletEnabled val="1"/>
        </dgm:presLayoutVars>
      </dgm:prSet>
      <dgm:spPr/>
    </dgm:pt>
    <dgm:pt modelId="{9B7F3E4F-640D-4E4A-89F9-A7C5DAF41CA9}" type="pres">
      <dgm:prSet presAssocID="{B4DF706D-5CB9-4F79-9DBB-50ED79688989}" presName="parentText" presStyleLbl="node1" presStyleIdx="3" presStyleCnt="4">
        <dgm:presLayoutVars>
          <dgm:chMax val="0"/>
          <dgm:bulletEnabled val="1"/>
        </dgm:presLayoutVars>
      </dgm:prSet>
      <dgm:spPr/>
    </dgm:pt>
    <dgm:pt modelId="{1BF8EC60-2868-4207-A6A6-FD4C11BA574C}" type="pres">
      <dgm:prSet presAssocID="{B4DF706D-5CB9-4F79-9DBB-50ED79688989}" presName="childText" presStyleLbl="revTx" presStyleIdx="3" presStyleCnt="4">
        <dgm:presLayoutVars>
          <dgm:bulletEnabled val="1"/>
        </dgm:presLayoutVars>
      </dgm:prSet>
      <dgm:spPr/>
    </dgm:pt>
  </dgm:ptLst>
  <dgm:cxnLst>
    <dgm:cxn modelId="{DEFCDC0E-94F3-432D-ABBA-466025866FC7}" type="presOf" srcId="{BF1B1B80-38BA-4B31-A7CD-111B3732154D}" destId="{1BF8EC60-2868-4207-A6A6-FD4C11BA574C}" srcOrd="0" destOrd="1" presId="urn:microsoft.com/office/officeart/2005/8/layout/vList2"/>
    <dgm:cxn modelId="{083F641E-02A2-489E-8E0A-71DE3CC38F3D}" type="presOf" srcId="{6E81C69B-E01F-4F0E-8319-A0FBFE5DE6BE}" destId="{1BF8EC60-2868-4207-A6A6-FD4C11BA574C}" srcOrd="0" destOrd="2" presId="urn:microsoft.com/office/officeart/2005/8/layout/vList2"/>
    <dgm:cxn modelId="{4564C91F-1405-4F69-9489-01B42D1A8D9B}" type="presOf" srcId="{C2CBC92A-1374-4632-A297-E80BC75B3638}" destId="{CAEFDEA2-1648-4746-BD05-603A18C1E785}" srcOrd="0" destOrd="1" presId="urn:microsoft.com/office/officeart/2005/8/layout/vList2"/>
    <dgm:cxn modelId="{96315221-6BEC-4CC7-8633-C0953061C3F6}" type="presOf" srcId="{00F8499F-E092-4C96-A28D-B6D0143A742E}" destId="{1A089BF9-CE2C-489B-B1CE-C7E3E24A21D9}" srcOrd="0" destOrd="0" presId="urn:microsoft.com/office/officeart/2005/8/layout/vList2"/>
    <dgm:cxn modelId="{2BE31522-9B36-491D-8204-C62C0AF97B33}" type="presOf" srcId="{C608C96C-CEF4-4518-B8D9-B1F57916C880}" destId="{E9AA3800-28D4-4149-9485-6278840B6B1D}" srcOrd="0" destOrd="0" presId="urn:microsoft.com/office/officeart/2005/8/layout/vList2"/>
    <dgm:cxn modelId="{93406424-5CF3-4905-9456-7D7DEB170A42}" srcId="{B4DF706D-5CB9-4F79-9DBB-50ED79688989}" destId="{672C3022-888E-4A24-8907-27E8697771D6}" srcOrd="3" destOrd="0" parTransId="{021CCEC3-4B83-4210-9F03-31CBD8FCA8BC}" sibTransId="{05A2D5AE-51DB-4A78-95A8-27234F97B061}"/>
    <dgm:cxn modelId="{EFBFF22F-059D-4DA0-9E44-E43C847F9B5B}" type="presOf" srcId="{1707AE4D-E7CD-44E5-8955-A3E8AF0B5B59}" destId="{46F912F9-95EC-4D82-8576-DFA1B5BC2CA3}" srcOrd="0" destOrd="0" presId="urn:microsoft.com/office/officeart/2005/8/layout/vList2"/>
    <dgm:cxn modelId="{7CD73B30-BBA7-41A3-B2B5-E520F4014B28}" srcId="{00F8499F-E092-4C96-A28D-B6D0143A742E}" destId="{4FBC812E-D31F-4595-BD8C-974F94F6224E}" srcOrd="0" destOrd="0" parTransId="{3F87AB66-1BEF-4D9B-A7C3-74ECDEC5C566}" sibTransId="{7CB0EA10-9BD2-436D-AD7F-709D1E1A5949}"/>
    <dgm:cxn modelId="{8DCC8136-A7AE-4896-97D4-A969079DB8AE}" type="presOf" srcId="{82007B5A-A337-4E7D-A20F-47D5C49E2F77}" destId="{AEE11B65-395C-44F4-B365-AC1000DBD957}" srcOrd="0" destOrd="0" presId="urn:microsoft.com/office/officeart/2005/8/layout/vList2"/>
    <dgm:cxn modelId="{66AA7F40-432C-4456-BE72-F3C35C590272}" type="presOf" srcId="{B5CEAAC2-DF72-4BB5-B3E0-F21258908ABE}" destId="{CAEFDEA2-1648-4746-BD05-603A18C1E785}" srcOrd="0" destOrd="2" presId="urn:microsoft.com/office/officeart/2005/8/layout/vList2"/>
    <dgm:cxn modelId="{900BAA4B-5716-4B57-92C9-1BD0951A7898}" srcId="{1707AE4D-E7CD-44E5-8955-A3E8AF0B5B59}" destId="{C608C96C-CEF4-4518-B8D9-B1F57916C880}" srcOrd="0" destOrd="0" parTransId="{4BABFFDE-F7F5-4BF9-B3F9-B5EACB401FBF}" sibTransId="{600DCD0B-AEF5-42DE-B708-9BE4FD37D6FE}"/>
    <dgm:cxn modelId="{4E15636D-46C0-4714-8E58-45A3E4274A52}" srcId="{487A014F-1785-4403-99D5-966EDED4F2E0}" destId="{B4DF706D-5CB9-4F79-9DBB-50ED79688989}" srcOrd="3" destOrd="0" parTransId="{A63A4C5E-D6A1-4FF5-83A4-BB2D1EF6FE5F}" sibTransId="{C52B4652-7900-4C72-9599-17E451D067DD}"/>
    <dgm:cxn modelId="{108F006E-3F54-455D-BF6B-5B70CF028CE5}" type="presOf" srcId="{4FBC812E-D31F-4595-BD8C-974F94F6224E}" destId="{CAEFDEA2-1648-4746-BD05-603A18C1E785}" srcOrd="0" destOrd="0" presId="urn:microsoft.com/office/officeart/2005/8/layout/vList2"/>
    <dgm:cxn modelId="{165D0C4E-FD28-4417-8D11-D0A296EF3B1C}" srcId="{487A014F-1785-4403-99D5-966EDED4F2E0}" destId="{1707AE4D-E7CD-44E5-8955-A3E8AF0B5B59}" srcOrd="0" destOrd="0" parTransId="{7DD9B50D-E2A2-4C0B-8808-3A7430F53097}" sibTransId="{90699DEF-C2F1-4BAF-ACBE-31281807A519}"/>
    <dgm:cxn modelId="{7C7E1F6E-9BDE-4903-BBEE-E2B85FF913A2}" srcId="{00F8499F-E092-4C96-A28D-B6D0143A742E}" destId="{B5CEAAC2-DF72-4BB5-B3E0-F21258908ABE}" srcOrd="2" destOrd="0" parTransId="{CD9942E9-1256-4BCA-A9FC-3E5F0822692E}" sibTransId="{233A51B1-9A40-4E1B-A477-108A3C65F85F}"/>
    <dgm:cxn modelId="{7F27DA51-3361-4FAA-8DF0-8FBFAF33BFD9}" srcId="{B4DF706D-5CB9-4F79-9DBB-50ED79688989}" destId="{BF1B1B80-38BA-4B31-A7CD-111B3732154D}" srcOrd="1" destOrd="0" parTransId="{9D3BF464-F71A-4BA6-A72C-2E3B9E85668D}" sibTransId="{17EE9E59-2E5F-44AB-97EE-C8579E34604B}"/>
    <dgm:cxn modelId="{177B417B-27A4-46E5-B137-547263AEA8A1}" type="presOf" srcId="{8398F73D-E650-4954-B0B0-AA06D1C27F81}" destId="{C380E710-689E-42FD-99FD-728A9A298AD7}" srcOrd="0" destOrd="0" presId="urn:microsoft.com/office/officeart/2005/8/layout/vList2"/>
    <dgm:cxn modelId="{52D3368D-B63D-4300-B64E-B9B70A42A72A}" type="presOf" srcId="{B4DF706D-5CB9-4F79-9DBB-50ED79688989}" destId="{9B7F3E4F-640D-4E4A-89F9-A7C5DAF41CA9}" srcOrd="0" destOrd="0" presId="urn:microsoft.com/office/officeart/2005/8/layout/vList2"/>
    <dgm:cxn modelId="{6BCF7A8E-2619-4CA5-A1CB-5CB673F5F636}" type="presOf" srcId="{487A014F-1785-4403-99D5-966EDED4F2E0}" destId="{CF2B94D3-7650-4A6F-A445-7F3B50ADB31B}" srcOrd="0" destOrd="0" presId="urn:microsoft.com/office/officeart/2005/8/layout/vList2"/>
    <dgm:cxn modelId="{0EC7BF90-55D2-4A03-98CF-FF501E761DC9}" srcId="{B4DF706D-5CB9-4F79-9DBB-50ED79688989}" destId="{6E81C69B-E01F-4F0E-8319-A0FBFE5DE6BE}" srcOrd="2" destOrd="0" parTransId="{C6A6FB68-5344-4095-AC2B-CB0402FB5C70}" sibTransId="{1849B98A-372E-4693-9728-71EBC1A07540}"/>
    <dgm:cxn modelId="{960C84A0-C74E-4734-9E00-A50DCCBFD667}" type="presOf" srcId="{B238D046-268E-45C6-A6CD-B0C1CD2EDCA3}" destId="{E9AA3800-28D4-4149-9485-6278840B6B1D}" srcOrd="0" destOrd="1" presId="urn:microsoft.com/office/officeart/2005/8/layout/vList2"/>
    <dgm:cxn modelId="{4D7739A4-D5D5-488B-BE5E-474338484D0A}" srcId="{B4DF706D-5CB9-4F79-9DBB-50ED79688989}" destId="{BD2F67B8-1923-4552-8F03-CA5A3387FC63}" srcOrd="0" destOrd="0" parTransId="{ECAF5877-3322-4780-A8CA-608FFE66678C}" sibTransId="{620A0EE7-16A8-4736-AAE3-05A3C563BC45}"/>
    <dgm:cxn modelId="{8B0B71A8-5579-4296-BDB2-3CA1A98E35CF}" srcId="{487A014F-1785-4403-99D5-966EDED4F2E0}" destId="{00F8499F-E092-4C96-A28D-B6D0143A742E}" srcOrd="2" destOrd="0" parTransId="{70B7691C-386F-463C-9748-21BBB6D3558F}" sibTransId="{CC699B40-543F-4E16-B765-5CD5F4A6FD4D}"/>
    <dgm:cxn modelId="{F29B2CAC-CC27-4F51-B3A5-C08D1AB527DA}" srcId="{487A014F-1785-4403-99D5-966EDED4F2E0}" destId="{82007B5A-A337-4E7D-A20F-47D5C49E2F77}" srcOrd="1" destOrd="0" parTransId="{9197290C-8625-4FF2-856A-5631089069A6}" sibTransId="{44D3BA4D-E69C-449A-868F-25C167BE63D2}"/>
    <dgm:cxn modelId="{39E7B0C0-DFC3-455F-8B7C-DC266014FD72}" srcId="{82007B5A-A337-4E7D-A20F-47D5C49E2F77}" destId="{8398F73D-E650-4954-B0B0-AA06D1C27F81}" srcOrd="0" destOrd="0" parTransId="{654EF4F0-640E-4E6A-A5A7-EB46E945BDD7}" sibTransId="{D7734097-5C5A-4233-BEE3-2F27A0053F45}"/>
    <dgm:cxn modelId="{06AC8ACE-5ACA-4B8A-BDAE-D5A4420974A4}" type="presOf" srcId="{672C3022-888E-4A24-8907-27E8697771D6}" destId="{1BF8EC60-2868-4207-A6A6-FD4C11BA574C}" srcOrd="0" destOrd="3" presId="urn:microsoft.com/office/officeart/2005/8/layout/vList2"/>
    <dgm:cxn modelId="{51A251D8-3305-4EB0-A1E7-365C0CBA09B0}" srcId="{00F8499F-E092-4C96-A28D-B6D0143A742E}" destId="{C2CBC92A-1374-4632-A297-E80BC75B3638}" srcOrd="1" destOrd="0" parTransId="{ED6E8855-6387-4A38-AF7D-F44D372057B2}" sibTransId="{D5D096BF-EC27-43BE-A8D8-2F182DED5966}"/>
    <dgm:cxn modelId="{4009DBEF-DDAC-454C-94AE-EA4C4FE92DF4}" type="presOf" srcId="{F0139FA7-02B6-4B73-A433-E9B5AFE8D3D6}" destId="{E9AA3800-28D4-4149-9485-6278840B6B1D}" srcOrd="0" destOrd="2" presId="urn:microsoft.com/office/officeart/2005/8/layout/vList2"/>
    <dgm:cxn modelId="{EE8AE1F1-2ED7-4799-8CB0-32BC2F1B1CBE}" srcId="{1707AE4D-E7CD-44E5-8955-A3E8AF0B5B59}" destId="{B238D046-268E-45C6-A6CD-B0C1CD2EDCA3}" srcOrd="1" destOrd="0" parTransId="{8A8C58D1-363B-4119-B59D-33BDD191C143}" sibTransId="{F760E431-769E-4DC2-989D-7D07E8D92832}"/>
    <dgm:cxn modelId="{324893F2-E6B3-405D-AC67-800B9403B3CA}" srcId="{1707AE4D-E7CD-44E5-8955-A3E8AF0B5B59}" destId="{F0139FA7-02B6-4B73-A433-E9B5AFE8D3D6}" srcOrd="2" destOrd="0" parTransId="{F29B9E8C-DBCD-445C-8DA8-1C619C5E117F}" sibTransId="{C20A97E9-6BE5-48CB-9AFA-52E3C62BD42B}"/>
    <dgm:cxn modelId="{645562F6-C037-46F7-A08B-3836CFBF4247}" type="presOf" srcId="{BD2F67B8-1923-4552-8F03-CA5A3387FC63}" destId="{1BF8EC60-2868-4207-A6A6-FD4C11BA574C}" srcOrd="0" destOrd="0" presId="urn:microsoft.com/office/officeart/2005/8/layout/vList2"/>
    <dgm:cxn modelId="{5A9DB53B-95FA-416E-9007-DB562AA33D86}" type="presParOf" srcId="{CF2B94D3-7650-4A6F-A445-7F3B50ADB31B}" destId="{46F912F9-95EC-4D82-8576-DFA1B5BC2CA3}" srcOrd="0" destOrd="0" presId="urn:microsoft.com/office/officeart/2005/8/layout/vList2"/>
    <dgm:cxn modelId="{233DDAC6-417F-4854-AA06-D16DE92C5C09}" type="presParOf" srcId="{CF2B94D3-7650-4A6F-A445-7F3B50ADB31B}" destId="{E9AA3800-28D4-4149-9485-6278840B6B1D}" srcOrd="1" destOrd="0" presId="urn:microsoft.com/office/officeart/2005/8/layout/vList2"/>
    <dgm:cxn modelId="{D46940A6-F695-46FB-A1B4-F75DD3172742}" type="presParOf" srcId="{CF2B94D3-7650-4A6F-A445-7F3B50ADB31B}" destId="{AEE11B65-395C-44F4-B365-AC1000DBD957}" srcOrd="2" destOrd="0" presId="urn:microsoft.com/office/officeart/2005/8/layout/vList2"/>
    <dgm:cxn modelId="{AF1D38C1-AC06-4F5D-AD9B-2C78D600E724}" type="presParOf" srcId="{CF2B94D3-7650-4A6F-A445-7F3B50ADB31B}" destId="{C380E710-689E-42FD-99FD-728A9A298AD7}" srcOrd="3" destOrd="0" presId="urn:microsoft.com/office/officeart/2005/8/layout/vList2"/>
    <dgm:cxn modelId="{EE08B0CE-85C0-443E-91E5-B0E1D8DB5668}" type="presParOf" srcId="{CF2B94D3-7650-4A6F-A445-7F3B50ADB31B}" destId="{1A089BF9-CE2C-489B-B1CE-C7E3E24A21D9}" srcOrd="4" destOrd="0" presId="urn:microsoft.com/office/officeart/2005/8/layout/vList2"/>
    <dgm:cxn modelId="{332E0A68-9446-4CD1-82C7-8DAE4C9BCA2F}" type="presParOf" srcId="{CF2B94D3-7650-4A6F-A445-7F3B50ADB31B}" destId="{CAEFDEA2-1648-4746-BD05-603A18C1E785}" srcOrd="5" destOrd="0" presId="urn:microsoft.com/office/officeart/2005/8/layout/vList2"/>
    <dgm:cxn modelId="{5C41DC1E-2309-4847-A85C-A38DC8643C66}" type="presParOf" srcId="{CF2B94D3-7650-4A6F-A445-7F3B50ADB31B}" destId="{9B7F3E4F-640D-4E4A-89F9-A7C5DAF41CA9}" srcOrd="6" destOrd="0" presId="urn:microsoft.com/office/officeart/2005/8/layout/vList2"/>
    <dgm:cxn modelId="{609F95D1-36CA-4802-98CA-9F4139CE5A37}" type="presParOf" srcId="{CF2B94D3-7650-4A6F-A445-7F3B50ADB31B}" destId="{1BF8EC60-2868-4207-A6A6-FD4C11BA574C}"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F71A75A-5FBA-44A7-B086-8CC2D8392C5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62DC0565-07AA-4640-8E98-A233AFFE6FB6}">
      <dgm:prSet custT="1"/>
      <dgm:spPr/>
      <dgm:t>
        <a:bodyPr/>
        <a:lstStyle/>
        <a:p>
          <a:r>
            <a:rPr lang="en-US" sz="2000" baseline="0" dirty="0"/>
            <a:t>Identify Columns for statistics</a:t>
          </a:r>
          <a:endParaRPr lang="en-US" sz="2000" dirty="0"/>
        </a:p>
      </dgm:t>
    </dgm:pt>
    <dgm:pt modelId="{DB1288FE-68A5-4C99-9C4D-DDBC971A49E5}" type="parTrans" cxnId="{AF1D1807-60F2-412B-8EF1-4ADDB113998C}">
      <dgm:prSet/>
      <dgm:spPr/>
      <dgm:t>
        <a:bodyPr/>
        <a:lstStyle/>
        <a:p>
          <a:endParaRPr lang="en-US"/>
        </a:p>
      </dgm:t>
    </dgm:pt>
    <dgm:pt modelId="{B16B3FB5-EF59-4F0E-81C7-05732A90D2A4}" type="sibTrans" cxnId="{AF1D1807-60F2-412B-8EF1-4ADDB113998C}">
      <dgm:prSet/>
      <dgm:spPr/>
      <dgm:t>
        <a:bodyPr/>
        <a:lstStyle/>
        <a:p>
          <a:endParaRPr lang="en-US"/>
        </a:p>
      </dgm:t>
    </dgm:pt>
    <dgm:pt modelId="{38454ACF-AFC5-4921-B915-6AB879BDC803}">
      <dgm:prSet custT="1"/>
      <dgm:spPr/>
      <dgm:t>
        <a:bodyPr/>
        <a:lstStyle/>
        <a:p>
          <a:r>
            <a:rPr lang="en-US" sz="2000" baseline="0" dirty="0"/>
            <a:t>Joins, WHERE, GROUP BY</a:t>
          </a:r>
          <a:endParaRPr lang="en-US" sz="2000" dirty="0"/>
        </a:p>
      </dgm:t>
    </dgm:pt>
    <dgm:pt modelId="{D19CF090-141E-4919-A3B1-86F62C31EB4B}" type="parTrans" cxnId="{BD7920CE-07FD-4743-80DA-72D64DD5552B}">
      <dgm:prSet/>
      <dgm:spPr/>
      <dgm:t>
        <a:bodyPr/>
        <a:lstStyle/>
        <a:p>
          <a:endParaRPr lang="en-US"/>
        </a:p>
      </dgm:t>
    </dgm:pt>
    <dgm:pt modelId="{E97A5AEB-864B-4A9F-ADED-991CD70CD112}" type="sibTrans" cxnId="{BD7920CE-07FD-4743-80DA-72D64DD5552B}">
      <dgm:prSet/>
      <dgm:spPr/>
      <dgm:t>
        <a:bodyPr/>
        <a:lstStyle/>
        <a:p>
          <a:endParaRPr lang="en-US"/>
        </a:p>
      </dgm:t>
    </dgm:pt>
    <dgm:pt modelId="{01766399-C82A-43E4-9840-AC0F06F93CCD}">
      <dgm:prSet custT="1"/>
      <dgm:spPr/>
      <dgm:t>
        <a:bodyPr/>
        <a:lstStyle/>
        <a:p>
          <a:r>
            <a:rPr lang="en-US" sz="2000" baseline="0" dirty="0"/>
            <a:t>Tool for identifying joins using EXPLAIN plan on </a:t>
          </a:r>
          <a:r>
            <a:rPr lang="en-US" sz="2000" baseline="0" dirty="0" err="1"/>
            <a:t>Github</a:t>
          </a:r>
          <a:endParaRPr lang="en-US" sz="2000" dirty="0"/>
        </a:p>
      </dgm:t>
    </dgm:pt>
    <dgm:pt modelId="{B81D6BC8-55D8-4E91-AE9D-1E01620811AA}" type="parTrans" cxnId="{925846DC-9349-4CB6-94FB-9959A084E33B}">
      <dgm:prSet/>
      <dgm:spPr/>
      <dgm:t>
        <a:bodyPr/>
        <a:lstStyle/>
        <a:p>
          <a:endParaRPr lang="en-US"/>
        </a:p>
      </dgm:t>
    </dgm:pt>
    <dgm:pt modelId="{8179F83A-2317-457D-BF8B-541D51D86025}" type="sibTrans" cxnId="{925846DC-9349-4CB6-94FB-9959A084E33B}">
      <dgm:prSet/>
      <dgm:spPr/>
      <dgm:t>
        <a:bodyPr/>
        <a:lstStyle/>
        <a:p>
          <a:endParaRPr lang="en-US"/>
        </a:p>
      </dgm:t>
    </dgm:pt>
    <dgm:pt modelId="{14D461CF-49CF-4DC1-9219-E94EA0C6E039}">
      <dgm:prSet custT="1"/>
      <dgm:spPr/>
      <dgm:t>
        <a:bodyPr/>
        <a:lstStyle/>
        <a:p>
          <a:r>
            <a:rPr lang="en-US" sz="2000" baseline="0" dirty="0"/>
            <a:t>Review: Auto-stats vs. manual stats</a:t>
          </a:r>
          <a:endParaRPr lang="en-US" sz="2000" dirty="0"/>
        </a:p>
      </dgm:t>
    </dgm:pt>
    <dgm:pt modelId="{D366C955-88C4-4114-94F5-3D4009839E6D}" type="parTrans" cxnId="{3AE16C7C-8171-4F01-8007-57F452F27B1E}">
      <dgm:prSet/>
      <dgm:spPr/>
      <dgm:t>
        <a:bodyPr/>
        <a:lstStyle/>
        <a:p>
          <a:endParaRPr lang="en-US"/>
        </a:p>
      </dgm:t>
    </dgm:pt>
    <dgm:pt modelId="{FD96B841-AD61-4655-9AC0-2B3FA7835A9E}" type="sibTrans" cxnId="{3AE16C7C-8171-4F01-8007-57F452F27B1E}">
      <dgm:prSet/>
      <dgm:spPr/>
      <dgm:t>
        <a:bodyPr/>
        <a:lstStyle/>
        <a:p>
          <a:endParaRPr lang="en-US"/>
        </a:p>
      </dgm:t>
    </dgm:pt>
    <dgm:pt modelId="{E9B86FCC-C2E4-4448-A2D7-7AFB7AE754FF}">
      <dgm:prSet custT="1"/>
      <dgm:spPr/>
      <dgm:t>
        <a:bodyPr/>
        <a:lstStyle/>
        <a:p>
          <a:r>
            <a:rPr lang="en-US" sz="2000" baseline="0" dirty="0"/>
            <a:t>Auto stats does not include auto-update in current version</a:t>
          </a:r>
          <a:endParaRPr lang="en-US" sz="2000" dirty="0"/>
        </a:p>
      </dgm:t>
    </dgm:pt>
    <dgm:pt modelId="{8860B6BF-BFE5-4FB0-BC39-1E0DB5FA9A7C}" type="parTrans" cxnId="{33BB1883-6B99-4A11-9476-26283BEC8643}">
      <dgm:prSet/>
      <dgm:spPr/>
      <dgm:t>
        <a:bodyPr/>
        <a:lstStyle/>
        <a:p>
          <a:endParaRPr lang="en-US"/>
        </a:p>
      </dgm:t>
    </dgm:pt>
    <dgm:pt modelId="{87225B26-33F9-4097-9F4A-1246474747F8}" type="sibTrans" cxnId="{33BB1883-6B99-4A11-9476-26283BEC8643}">
      <dgm:prSet/>
      <dgm:spPr/>
      <dgm:t>
        <a:bodyPr/>
        <a:lstStyle/>
        <a:p>
          <a:endParaRPr lang="en-US"/>
        </a:p>
      </dgm:t>
    </dgm:pt>
    <dgm:pt modelId="{1BC11A5C-7FCA-4FDD-9C68-5D91777DF0D9}">
      <dgm:prSet custT="1"/>
      <dgm:spPr/>
      <dgm:t>
        <a:bodyPr/>
        <a:lstStyle/>
        <a:p>
          <a:r>
            <a:rPr lang="en-US" sz="2000" baseline="0" dirty="0"/>
            <a:t>Auto-stats may add time to query execution while it pauses to create statistics</a:t>
          </a:r>
          <a:endParaRPr lang="en-US" sz="2000" dirty="0"/>
        </a:p>
      </dgm:t>
    </dgm:pt>
    <dgm:pt modelId="{E09364EC-6DB8-429F-8CF9-B911530C9450}" type="parTrans" cxnId="{F99C2D6D-A169-49D6-ADA1-54AA31228A03}">
      <dgm:prSet/>
      <dgm:spPr/>
      <dgm:t>
        <a:bodyPr/>
        <a:lstStyle/>
        <a:p>
          <a:endParaRPr lang="en-US"/>
        </a:p>
      </dgm:t>
    </dgm:pt>
    <dgm:pt modelId="{1C3340A0-9030-434F-9209-D578CA23411D}" type="sibTrans" cxnId="{F99C2D6D-A169-49D6-ADA1-54AA31228A03}">
      <dgm:prSet/>
      <dgm:spPr/>
      <dgm:t>
        <a:bodyPr/>
        <a:lstStyle/>
        <a:p>
          <a:endParaRPr lang="en-US"/>
        </a:p>
      </dgm:t>
    </dgm:pt>
    <dgm:pt modelId="{EABDDBBF-E7E1-443C-8C78-033825DB1F11}">
      <dgm:prSet custT="1"/>
      <dgm:spPr/>
      <dgm:t>
        <a:bodyPr/>
        <a:lstStyle/>
        <a:p>
          <a:r>
            <a:rPr lang="en-US" sz="2000" baseline="0" dirty="0"/>
            <a:t>Creating manual statistics at load time will offer more consistent workload performance</a:t>
          </a:r>
          <a:endParaRPr lang="en-US" sz="2000" dirty="0"/>
        </a:p>
      </dgm:t>
    </dgm:pt>
    <dgm:pt modelId="{78CBF33C-5378-4B74-8D8C-D830D37EF925}" type="parTrans" cxnId="{85399DD3-B865-45F2-852A-EC4CB3D59CAD}">
      <dgm:prSet/>
      <dgm:spPr/>
      <dgm:t>
        <a:bodyPr/>
        <a:lstStyle/>
        <a:p>
          <a:endParaRPr lang="en-US"/>
        </a:p>
      </dgm:t>
    </dgm:pt>
    <dgm:pt modelId="{B26619AC-9A17-4269-825B-BD4C6B6E011F}" type="sibTrans" cxnId="{85399DD3-B865-45F2-852A-EC4CB3D59CAD}">
      <dgm:prSet/>
      <dgm:spPr/>
      <dgm:t>
        <a:bodyPr/>
        <a:lstStyle/>
        <a:p>
          <a:endParaRPr lang="en-US"/>
        </a:p>
      </dgm:t>
    </dgm:pt>
    <dgm:pt modelId="{33B67357-0E40-4A4C-B2C0-FEE696CD35D0}">
      <dgm:prSet custT="1"/>
      <dgm:spPr/>
      <dgm:t>
        <a:bodyPr/>
        <a:lstStyle/>
        <a:p>
          <a:r>
            <a:rPr lang="en-US" sz="2000" baseline="0"/>
            <a:t>Update statistics first </a:t>
          </a:r>
          <a:endParaRPr lang="en-US" sz="2000"/>
        </a:p>
      </dgm:t>
    </dgm:pt>
    <dgm:pt modelId="{72BD377B-3C27-4538-9AFF-4E98C1D348A7}" type="parTrans" cxnId="{41E58702-4FDF-4271-AAC4-6A56EFBB373E}">
      <dgm:prSet/>
      <dgm:spPr/>
      <dgm:t>
        <a:bodyPr/>
        <a:lstStyle/>
        <a:p>
          <a:endParaRPr lang="en-US"/>
        </a:p>
      </dgm:t>
    </dgm:pt>
    <dgm:pt modelId="{DEE53536-4E29-4188-905E-C55FF5382A50}" type="sibTrans" cxnId="{41E58702-4FDF-4271-AAC4-6A56EFBB373E}">
      <dgm:prSet/>
      <dgm:spPr/>
      <dgm:t>
        <a:bodyPr/>
        <a:lstStyle/>
        <a:p>
          <a:endParaRPr lang="en-US"/>
        </a:p>
      </dgm:t>
    </dgm:pt>
    <dgm:pt modelId="{2AF6123A-EE28-47F5-AAD7-B48609F42DF2}">
      <dgm:prSet custT="1"/>
      <dgm:spPr/>
      <dgm:t>
        <a:bodyPr/>
        <a:lstStyle/>
        <a:p>
          <a:r>
            <a:rPr lang="en-US" sz="2000" baseline="0" dirty="0"/>
            <a:t>If desired, you can check statistics accuracy beforehand, but it only looks at table-level row count, which is only one component of statistics</a:t>
          </a:r>
          <a:endParaRPr lang="en-US" sz="2000" dirty="0"/>
        </a:p>
      </dgm:t>
    </dgm:pt>
    <dgm:pt modelId="{E0FB64A1-9CBF-4726-92EE-C05D836222B5}" type="parTrans" cxnId="{EF75AAF5-9F5D-40CE-9969-7D08A7F92B55}">
      <dgm:prSet/>
      <dgm:spPr/>
      <dgm:t>
        <a:bodyPr/>
        <a:lstStyle/>
        <a:p>
          <a:endParaRPr lang="en-US"/>
        </a:p>
      </dgm:t>
    </dgm:pt>
    <dgm:pt modelId="{DC7D631F-5820-4789-A8A3-6B890B7C63ED}" type="sibTrans" cxnId="{EF75AAF5-9F5D-40CE-9969-7D08A7F92B55}">
      <dgm:prSet/>
      <dgm:spPr/>
      <dgm:t>
        <a:bodyPr/>
        <a:lstStyle/>
        <a:p>
          <a:endParaRPr lang="en-US"/>
        </a:p>
      </dgm:t>
    </dgm:pt>
    <dgm:pt modelId="{4DE9020D-391A-48AD-947D-6E0AC7E7E9C5}">
      <dgm:prSet custT="1"/>
      <dgm:spPr/>
      <dgm:t>
        <a:bodyPr/>
        <a:lstStyle/>
        <a:p>
          <a:r>
            <a:rPr lang="en-US" sz="2000" baseline="0" dirty="0"/>
            <a:t>Create missing statistics</a:t>
          </a:r>
          <a:endParaRPr lang="en-US" sz="2000" dirty="0"/>
        </a:p>
      </dgm:t>
    </dgm:pt>
    <dgm:pt modelId="{3EC29F71-4E04-4042-AD09-53AC4E5EEDE3}" type="parTrans" cxnId="{05770333-07F9-4910-B61E-B930A243D5AC}">
      <dgm:prSet/>
      <dgm:spPr/>
      <dgm:t>
        <a:bodyPr/>
        <a:lstStyle/>
        <a:p>
          <a:endParaRPr lang="en-US"/>
        </a:p>
      </dgm:t>
    </dgm:pt>
    <dgm:pt modelId="{68FDDA0C-C374-4CAA-A22C-9535127C5C8E}" type="sibTrans" cxnId="{05770333-07F9-4910-B61E-B930A243D5AC}">
      <dgm:prSet/>
      <dgm:spPr/>
      <dgm:t>
        <a:bodyPr/>
        <a:lstStyle/>
        <a:p>
          <a:endParaRPr lang="en-US"/>
        </a:p>
      </dgm:t>
    </dgm:pt>
    <dgm:pt modelId="{C1CBB690-53A5-42E5-9D06-30BF95D83D02}" type="pres">
      <dgm:prSet presAssocID="{4F71A75A-5FBA-44A7-B086-8CC2D8392C5D}" presName="linear" presStyleCnt="0">
        <dgm:presLayoutVars>
          <dgm:dir/>
          <dgm:animLvl val="lvl"/>
          <dgm:resizeHandles val="exact"/>
        </dgm:presLayoutVars>
      </dgm:prSet>
      <dgm:spPr/>
    </dgm:pt>
    <dgm:pt modelId="{421A61FA-B811-418D-BF59-5034D52A549A}" type="pres">
      <dgm:prSet presAssocID="{62DC0565-07AA-4640-8E98-A233AFFE6FB6}" presName="parentLin" presStyleCnt="0"/>
      <dgm:spPr/>
    </dgm:pt>
    <dgm:pt modelId="{C9A80C85-6B09-48A1-9F2D-2282305E422F}" type="pres">
      <dgm:prSet presAssocID="{62DC0565-07AA-4640-8E98-A233AFFE6FB6}" presName="parentLeftMargin" presStyleLbl="node1" presStyleIdx="0" presStyleCnt="4"/>
      <dgm:spPr/>
    </dgm:pt>
    <dgm:pt modelId="{45344D28-A513-4A1C-8C68-5E4D29BC1B3A}" type="pres">
      <dgm:prSet presAssocID="{62DC0565-07AA-4640-8E98-A233AFFE6FB6}" presName="parentText" presStyleLbl="node1" presStyleIdx="0" presStyleCnt="4">
        <dgm:presLayoutVars>
          <dgm:chMax val="0"/>
          <dgm:bulletEnabled val="1"/>
        </dgm:presLayoutVars>
      </dgm:prSet>
      <dgm:spPr/>
    </dgm:pt>
    <dgm:pt modelId="{7E9EC93C-F9E2-4289-8D59-00A092758303}" type="pres">
      <dgm:prSet presAssocID="{62DC0565-07AA-4640-8E98-A233AFFE6FB6}" presName="negativeSpace" presStyleCnt="0"/>
      <dgm:spPr/>
    </dgm:pt>
    <dgm:pt modelId="{B25ABD36-E525-40C4-A0FB-539C349F5C10}" type="pres">
      <dgm:prSet presAssocID="{62DC0565-07AA-4640-8E98-A233AFFE6FB6}" presName="childText" presStyleLbl="conFgAcc1" presStyleIdx="0" presStyleCnt="4">
        <dgm:presLayoutVars>
          <dgm:bulletEnabled val="1"/>
        </dgm:presLayoutVars>
      </dgm:prSet>
      <dgm:spPr/>
    </dgm:pt>
    <dgm:pt modelId="{A3D4A2A9-10B8-4F19-997E-C27DB638E775}" type="pres">
      <dgm:prSet presAssocID="{B16B3FB5-EF59-4F0E-81C7-05732A90D2A4}" presName="spaceBetweenRectangles" presStyleCnt="0"/>
      <dgm:spPr/>
    </dgm:pt>
    <dgm:pt modelId="{418AAA4B-EC36-4D96-9E2B-6E5D8C5C9682}" type="pres">
      <dgm:prSet presAssocID="{14D461CF-49CF-4DC1-9219-E94EA0C6E039}" presName="parentLin" presStyleCnt="0"/>
      <dgm:spPr/>
    </dgm:pt>
    <dgm:pt modelId="{3E225A45-EC3A-4C2D-8D20-38A5473EF509}" type="pres">
      <dgm:prSet presAssocID="{14D461CF-49CF-4DC1-9219-E94EA0C6E039}" presName="parentLeftMargin" presStyleLbl="node1" presStyleIdx="0" presStyleCnt="4"/>
      <dgm:spPr/>
    </dgm:pt>
    <dgm:pt modelId="{56C404A9-D93E-4904-8DCF-B6DF9CE2A04F}" type="pres">
      <dgm:prSet presAssocID="{14D461CF-49CF-4DC1-9219-E94EA0C6E039}" presName="parentText" presStyleLbl="node1" presStyleIdx="1" presStyleCnt="4">
        <dgm:presLayoutVars>
          <dgm:chMax val="0"/>
          <dgm:bulletEnabled val="1"/>
        </dgm:presLayoutVars>
      </dgm:prSet>
      <dgm:spPr/>
    </dgm:pt>
    <dgm:pt modelId="{C6DA889D-9DAE-42E2-802A-4D955925563A}" type="pres">
      <dgm:prSet presAssocID="{14D461CF-49CF-4DC1-9219-E94EA0C6E039}" presName="negativeSpace" presStyleCnt="0"/>
      <dgm:spPr/>
    </dgm:pt>
    <dgm:pt modelId="{A892DC63-1651-467C-8A53-E46BB032E52A}" type="pres">
      <dgm:prSet presAssocID="{14D461CF-49CF-4DC1-9219-E94EA0C6E039}" presName="childText" presStyleLbl="conFgAcc1" presStyleIdx="1" presStyleCnt="4">
        <dgm:presLayoutVars>
          <dgm:bulletEnabled val="1"/>
        </dgm:presLayoutVars>
      </dgm:prSet>
      <dgm:spPr/>
    </dgm:pt>
    <dgm:pt modelId="{3151092F-191F-476A-A271-21F3525DE26E}" type="pres">
      <dgm:prSet presAssocID="{FD96B841-AD61-4655-9AC0-2B3FA7835A9E}" presName="spaceBetweenRectangles" presStyleCnt="0"/>
      <dgm:spPr/>
    </dgm:pt>
    <dgm:pt modelId="{A4D25A77-F674-4F80-AF8F-FA5A568593B7}" type="pres">
      <dgm:prSet presAssocID="{33B67357-0E40-4A4C-B2C0-FEE696CD35D0}" presName="parentLin" presStyleCnt="0"/>
      <dgm:spPr/>
    </dgm:pt>
    <dgm:pt modelId="{E25C1A31-0C7C-49A4-8877-79F6FD330B57}" type="pres">
      <dgm:prSet presAssocID="{33B67357-0E40-4A4C-B2C0-FEE696CD35D0}" presName="parentLeftMargin" presStyleLbl="node1" presStyleIdx="1" presStyleCnt="4"/>
      <dgm:spPr/>
    </dgm:pt>
    <dgm:pt modelId="{0550C314-A7DC-426C-83B2-A4333510EB3B}" type="pres">
      <dgm:prSet presAssocID="{33B67357-0E40-4A4C-B2C0-FEE696CD35D0}" presName="parentText" presStyleLbl="node1" presStyleIdx="2" presStyleCnt="4">
        <dgm:presLayoutVars>
          <dgm:chMax val="0"/>
          <dgm:bulletEnabled val="1"/>
        </dgm:presLayoutVars>
      </dgm:prSet>
      <dgm:spPr/>
    </dgm:pt>
    <dgm:pt modelId="{FD3CC394-9EDE-4F0D-8B2D-4DD26F497A25}" type="pres">
      <dgm:prSet presAssocID="{33B67357-0E40-4A4C-B2C0-FEE696CD35D0}" presName="negativeSpace" presStyleCnt="0"/>
      <dgm:spPr/>
    </dgm:pt>
    <dgm:pt modelId="{E075F169-F6BE-4784-AD41-1390B8A15D60}" type="pres">
      <dgm:prSet presAssocID="{33B67357-0E40-4A4C-B2C0-FEE696CD35D0}" presName="childText" presStyleLbl="conFgAcc1" presStyleIdx="2" presStyleCnt="4">
        <dgm:presLayoutVars>
          <dgm:bulletEnabled val="1"/>
        </dgm:presLayoutVars>
      </dgm:prSet>
      <dgm:spPr/>
    </dgm:pt>
    <dgm:pt modelId="{9F4AB1D1-F95E-4CFC-A927-1E85B89589DF}" type="pres">
      <dgm:prSet presAssocID="{DEE53536-4E29-4188-905E-C55FF5382A50}" presName="spaceBetweenRectangles" presStyleCnt="0"/>
      <dgm:spPr/>
    </dgm:pt>
    <dgm:pt modelId="{0219C8BE-5253-4C21-A771-2DBFB03CCCDE}" type="pres">
      <dgm:prSet presAssocID="{4DE9020D-391A-48AD-947D-6E0AC7E7E9C5}" presName="parentLin" presStyleCnt="0"/>
      <dgm:spPr/>
    </dgm:pt>
    <dgm:pt modelId="{8F4DE6C3-474A-4999-AEC0-2AC0AA177CD0}" type="pres">
      <dgm:prSet presAssocID="{4DE9020D-391A-48AD-947D-6E0AC7E7E9C5}" presName="parentLeftMargin" presStyleLbl="node1" presStyleIdx="2" presStyleCnt="4"/>
      <dgm:spPr/>
    </dgm:pt>
    <dgm:pt modelId="{D1537100-12A0-4035-9D12-F908E7D87CE5}" type="pres">
      <dgm:prSet presAssocID="{4DE9020D-391A-48AD-947D-6E0AC7E7E9C5}" presName="parentText" presStyleLbl="node1" presStyleIdx="3" presStyleCnt="4">
        <dgm:presLayoutVars>
          <dgm:chMax val="0"/>
          <dgm:bulletEnabled val="1"/>
        </dgm:presLayoutVars>
      </dgm:prSet>
      <dgm:spPr/>
    </dgm:pt>
    <dgm:pt modelId="{25DDA80F-D7BD-4861-88BD-9CA69C2B1E4B}" type="pres">
      <dgm:prSet presAssocID="{4DE9020D-391A-48AD-947D-6E0AC7E7E9C5}" presName="negativeSpace" presStyleCnt="0"/>
      <dgm:spPr/>
    </dgm:pt>
    <dgm:pt modelId="{A377BA65-3DBE-4495-8E49-CF6AACF050DB}" type="pres">
      <dgm:prSet presAssocID="{4DE9020D-391A-48AD-947D-6E0AC7E7E9C5}" presName="childText" presStyleLbl="conFgAcc1" presStyleIdx="3" presStyleCnt="4">
        <dgm:presLayoutVars>
          <dgm:bulletEnabled val="1"/>
        </dgm:presLayoutVars>
      </dgm:prSet>
      <dgm:spPr/>
    </dgm:pt>
  </dgm:ptLst>
  <dgm:cxnLst>
    <dgm:cxn modelId="{41E58702-4FDF-4271-AAC4-6A56EFBB373E}" srcId="{4F71A75A-5FBA-44A7-B086-8CC2D8392C5D}" destId="{33B67357-0E40-4A4C-B2C0-FEE696CD35D0}" srcOrd="2" destOrd="0" parTransId="{72BD377B-3C27-4538-9AFF-4E98C1D348A7}" sibTransId="{DEE53536-4E29-4188-905E-C55FF5382A50}"/>
    <dgm:cxn modelId="{AF1D1807-60F2-412B-8EF1-4ADDB113998C}" srcId="{4F71A75A-5FBA-44A7-B086-8CC2D8392C5D}" destId="{62DC0565-07AA-4640-8E98-A233AFFE6FB6}" srcOrd="0" destOrd="0" parTransId="{DB1288FE-68A5-4C99-9C4D-DDBC971A49E5}" sibTransId="{B16B3FB5-EF59-4F0E-81C7-05732A90D2A4}"/>
    <dgm:cxn modelId="{A6C79818-0EC3-4144-8102-18E77A2FBEE6}" type="presOf" srcId="{14D461CF-49CF-4DC1-9219-E94EA0C6E039}" destId="{56C404A9-D93E-4904-8DCF-B6DF9CE2A04F}" srcOrd="1" destOrd="0" presId="urn:microsoft.com/office/officeart/2005/8/layout/list1"/>
    <dgm:cxn modelId="{7F0F9524-76C1-41B8-B536-DD26FFFD6E2F}" type="presOf" srcId="{01766399-C82A-43E4-9840-AC0F06F93CCD}" destId="{B25ABD36-E525-40C4-A0FB-539C349F5C10}" srcOrd="0" destOrd="1" presId="urn:microsoft.com/office/officeart/2005/8/layout/list1"/>
    <dgm:cxn modelId="{05770333-07F9-4910-B61E-B930A243D5AC}" srcId="{4F71A75A-5FBA-44A7-B086-8CC2D8392C5D}" destId="{4DE9020D-391A-48AD-947D-6E0AC7E7E9C5}" srcOrd="3" destOrd="0" parTransId="{3EC29F71-4E04-4042-AD09-53AC4E5EEDE3}" sibTransId="{68FDDA0C-C374-4CAA-A22C-9535127C5C8E}"/>
    <dgm:cxn modelId="{F25AD534-07C5-4FEB-9FF2-C3CB06BBDD8F}" type="presOf" srcId="{E9B86FCC-C2E4-4448-A2D7-7AFB7AE754FF}" destId="{A892DC63-1651-467C-8A53-E46BB032E52A}" srcOrd="0" destOrd="0" presId="urn:microsoft.com/office/officeart/2005/8/layout/list1"/>
    <dgm:cxn modelId="{0F2BFA37-201B-4E60-8C05-BA656968F1D9}" type="presOf" srcId="{1BC11A5C-7FCA-4FDD-9C68-5D91777DF0D9}" destId="{A892DC63-1651-467C-8A53-E46BB032E52A}" srcOrd="0" destOrd="1" presId="urn:microsoft.com/office/officeart/2005/8/layout/list1"/>
    <dgm:cxn modelId="{F99C2D6D-A169-49D6-ADA1-54AA31228A03}" srcId="{14D461CF-49CF-4DC1-9219-E94EA0C6E039}" destId="{1BC11A5C-7FCA-4FDD-9C68-5D91777DF0D9}" srcOrd="1" destOrd="0" parTransId="{E09364EC-6DB8-429F-8CF9-B911530C9450}" sibTransId="{1C3340A0-9030-434F-9209-D578CA23411D}"/>
    <dgm:cxn modelId="{48C95D4F-88BE-48E7-B0F2-51E56EEE6EF6}" type="presOf" srcId="{4DE9020D-391A-48AD-947D-6E0AC7E7E9C5}" destId="{D1537100-12A0-4035-9D12-F908E7D87CE5}" srcOrd="1" destOrd="0" presId="urn:microsoft.com/office/officeart/2005/8/layout/list1"/>
    <dgm:cxn modelId="{3A8ACE58-C75B-49B6-BD0E-25F6C3C1F251}" type="presOf" srcId="{62DC0565-07AA-4640-8E98-A233AFFE6FB6}" destId="{C9A80C85-6B09-48A1-9F2D-2282305E422F}" srcOrd="0" destOrd="0" presId="urn:microsoft.com/office/officeart/2005/8/layout/list1"/>
    <dgm:cxn modelId="{AE16EF5A-52E4-4F36-A247-07D702C53520}" type="presOf" srcId="{EABDDBBF-E7E1-443C-8C78-033825DB1F11}" destId="{A892DC63-1651-467C-8A53-E46BB032E52A}" srcOrd="0" destOrd="2" presId="urn:microsoft.com/office/officeart/2005/8/layout/list1"/>
    <dgm:cxn modelId="{3AE16C7C-8171-4F01-8007-57F452F27B1E}" srcId="{4F71A75A-5FBA-44A7-B086-8CC2D8392C5D}" destId="{14D461CF-49CF-4DC1-9219-E94EA0C6E039}" srcOrd="1" destOrd="0" parTransId="{D366C955-88C4-4114-94F5-3D4009839E6D}" sibTransId="{FD96B841-AD61-4655-9AC0-2B3FA7835A9E}"/>
    <dgm:cxn modelId="{33BB1883-6B99-4A11-9476-26283BEC8643}" srcId="{14D461CF-49CF-4DC1-9219-E94EA0C6E039}" destId="{E9B86FCC-C2E4-4448-A2D7-7AFB7AE754FF}" srcOrd="0" destOrd="0" parTransId="{8860B6BF-BFE5-4FB0-BC39-1E0DB5FA9A7C}" sibTransId="{87225B26-33F9-4097-9F4A-1246474747F8}"/>
    <dgm:cxn modelId="{0B649789-E004-41D3-AF8D-B7235D797AE4}" type="presOf" srcId="{4DE9020D-391A-48AD-947D-6E0AC7E7E9C5}" destId="{8F4DE6C3-474A-4999-AEC0-2AC0AA177CD0}" srcOrd="0" destOrd="0" presId="urn:microsoft.com/office/officeart/2005/8/layout/list1"/>
    <dgm:cxn modelId="{41809D8B-6811-4332-BAE6-9C47CEDB1509}" type="presOf" srcId="{14D461CF-49CF-4DC1-9219-E94EA0C6E039}" destId="{3E225A45-EC3A-4C2D-8D20-38A5473EF509}" srcOrd="0" destOrd="0" presId="urn:microsoft.com/office/officeart/2005/8/layout/list1"/>
    <dgm:cxn modelId="{1F5E5690-B364-4B0F-A317-D338DCECFDC3}" type="presOf" srcId="{4F71A75A-5FBA-44A7-B086-8CC2D8392C5D}" destId="{C1CBB690-53A5-42E5-9D06-30BF95D83D02}" srcOrd="0" destOrd="0" presId="urn:microsoft.com/office/officeart/2005/8/layout/list1"/>
    <dgm:cxn modelId="{873361AC-726D-46A5-B6CA-64404E1B8085}" type="presOf" srcId="{33B67357-0E40-4A4C-B2C0-FEE696CD35D0}" destId="{0550C314-A7DC-426C-83B2-A4333510EB3B}" srcOrd="1" destOrd="0" presId="urn:microsoft.com/office/officeart/2005/8/layout/list1"/>
    <dgm:cxn modelId="{BD7920CE-07FD-4743-80DA-72D64DD5552B}" srcId="{62DC0565-07AA-4640-8E98-A233AFFE6FB6}" destId="{38454ACF-AFC5-4921-B915-6AB879BDC803}" srcOrd="0" destOrd="0" parTransId="{D19CF090-141E-4919-A3B1-86F62C31EB4B}" sibTransId="{E97A5AEB-864B-4A9F-ADED-991CD70CD112}"/>
    <dgm:cxn modelId="{85399DD3-B865-45F2-852A-EC4CB3D59CAD}" srcId="{14D461CF-49CF-4DC1-9219-E94EA0C6E039}" destId="{EABDDBBF-E7E1-443C-8C78-033825DB1F11}" srcOrd="2" destOrd="0" parTransId="{78CBF33C-5378-4B74-8D8C-D830D37EF925}" sibTransId="{B26619AC-9A17-4269-825B-BD4C6B6E011F}"/>
    <dgm:cxn modelId="{925846DC-9349-4CB6-94FB-9959A084E33B}" srcId="{62DC0565-07AA-4640-8E98-A233AFFE6FB6}" destId="{01766399-C82A-43E4-9840-AC0F06F93CCD}" srcOrd="1" destOrd="0" parTransId="{B81D6BC8-55D8-4E91-AE9D-1E01620811AA}" sibTransId="{8179F83A-2317-457D-BF8B-541D51D86025}"/>
    <dgm:cxn modelId="{0BCE91DD-0F59-4DA8-80DC-FC27B1ECDA69}" type="presOf" srcId="{2AF6123A-EE28-47F5-AAD7-B48609F42DF2}" destId="{E075F169-F6BE-4784-AD41-1390B8A15D60}" srcOrd="0" destOrd="0" presId="urn:microsoft.com/office/officeart/2005/8/layout/list1"/>
    <dgm:cxn modelId="{CD7900ED-AE39-4227-A143-1CB54AC93AA2}" type="presOf" srcId="{33B67357-0E40-4A4C-B2C0-FEE696CD35D0}" destId="{E25C1A31-0C7C-49A4-8877-79F6FD330B57}" srcOrd="0" destOrd="0" presId="urn:microsoft.com/office/officeart/2005/8/layout/list1"/>
    <dgm:cxn modelId="{EF75AAF5-9F5D-40CE-9969-7D08A7F92B55}" srcId="{33B67357-0E40-4A4C-B2C0-FEE696CD35D0}" destId="{2AF6123A-EE28-47F5-AAD7-B48609F42DF2}" srcOrd="0" destOrd="0" parTransId="{E0FB64A1-9CBF-4726-92EE-C05D836222B5}" sibTransId="{DC7D631F-5820-4789-A8A3-6B890B7C63ED}"/>
    <dgm:cxn modelId="{13FA53FA-315A-4E01-A91B-68B4DCD0CDB7}" type="presOf" srcId="{38454ACF-AFC5-4921-B915-6AB879BDC803}" destId="{B25ABD36-E525-40C4-A0FB-539C349F5C10}" srcOrd="0" destOrd="0" presId="urn:microsoft.com/office/officeart/2005/8/layout/list1"/>
    <dgm:cxn modelId="{A97839FB-0E69-40E7-A82C-2C1400354639}" type="presOf" srcId="{62DC0565-07AA-4640-8E98-A233AFFE6FB6}" destId="{45344D28-A513-4A1C-8C68-5E4D29BC1B3A}" srcOrd="1" destOrd="0" presId="urn:microsoft.com/office/officeart/2005/8/layout/list1"/>
    <dgm:cxn modelId="{2A7056CF-33B5-4C6D-906B-71E1D3857E34}" type="presParOf" srcId="{C1CBB690-53A5-42E5-9D06-30BF95D83D02}" destId="{421A61FA-B811-418D-BF59-5034D52A549A}" srcOrd="0" destOrd="0" presId="urn:microsoft.com/office/officeart/2005/8/layout/list1"/>
    <dgm:cxn modelId="{BBB597DA-3146-495C-90D2-B0F0EB1B580F}" type="presParOf" srcId="{421A61FA-B811-418D-BF59-5034D52A549A}" destId="{C9A80C85-6B09-48A1-9F2D-2282305E422F}" srcOrd="0" destOrd="0" presId="urn:microsoft.com/office/officeart/2005/8/layout/list1"/>
    <dgm:cxn modelId="{39F719A2-C76D-4EAE-8322-9619DD607A47}" type="presParOf" srcId="{421A61FA-B811-418D-BF59-5034D52A549A}" destId="{45344D28-A513-4A1C-8C68-5E4D29BC1B3A}" srcOrd="1" destOrd="0" presId="urn:microsoft.com/office/officeart/2005/8/layout/list1"/>
    <dgm:cxn modelId="{70E99C57-A83A-4E84-A60C-98329E821D50}" type="presParOf" srcId="{C1CBB690-53A5-42E5-9D06-30BF95D83D02}" destId="{7E9EC93C-F9E2-4289-8D59-00A092758303}" srcOrd="1" destOrd="0" presId="urn:microsoft.com/office/officeart/2005/8/layout/list1"/>
    <dgm:cxn modelId="{1D8B2318-0628-4F8C-AD89-1BE5650427C6}" type="presParOf" srcId="{C1CBB690-53A5-42E5-9D06-30BF95D83D02}" destId="{B25ABD36-E525-40C4-A0FB-539C349F5C10}" srcOrd="2" destOrd="0" presId="urn:microsoft.com/office/officeart/2005/8/layout/list1"/>
    <dgm:cxn modelId="{4550AD06-B9A3-4059-B68D-145ED2BC2CC2}" type="presParOf" srcId="{C1CBB690-53A5-42E5-9D06-30BF95D83D02}" destId="{A3D4A2A9-10B8-4F19-997E-C27DB638E775}" srcOrd="3" destOrd="0" presId="urn:microsoft.com/office/officeart/2005/8/layout/list1"/>
    <dgm:cxn modelId="{3609780E-347F-4C59-9D59-D372791C7FB5}" type="presParOf" srcId="{C1CBB690-53A5-42E5-9D06-30BF95D83D02}" destId="{418AAA4B-EC36-4D96-9E2B-6E5D8C5C9682}" srcOrd="4" destOrd="0" presId="urn:microsoft.com/office/officeart/2005/8/layout/list1"/>
    <dgm:cxn modelId="{214FB8C5-9DC8-4E11-A325-DD5556308840}" type="presParOf" srcId="{418AAA4B-EC36-4D96-9E2B-6E5D8C5C9682}" destId="{3E225A45-EC3A-4C2D-8D20-38A5473EF509}" srcOrd="0" destOrd="0" presId="urn:microsoft.com/office/officeart/2005/8/layout/list1"/>
    <dgm:cxn modelId="{A3C733B3-1B63-4B88-8060-AC866DCF7188}" type="presParOf" srcId="{418AAA4B-EC36-4D96-9E2B-6E5D8C5C9682}" destId="{56C404A9-D93E-4904-8DCF-B6DF9CE2A04F}" srcOrd="1" destOrd="0" presId="urn:microsoft.com/office/officeart/2005/8/layout/list1"/>
    <dgm:cxn modelId="{D7E7C9DE-B2C3-4477-B308-226BDE2E8123}" type="presParOf" srcId="{C1CBB690-53A5-42E5-9D06-30BF95D83D02}" destId="{C6DA889D-9DAE-42E2-802A-4D955925563A}" srcOrd="5" destOrd="0" presId="urn:microsoft.com/office/officeart/2005/8/layout/list1"/>
    <dgm:cxn modelId="{7922390E-B69D-4D54-AC09-A58DBD44A4FE}" type="presParOf" srcId="{C1CBB690-53A5-42E5-9D06-30BF95D83D02}" destId="{A892DC63-1651-467C-8A53-E46BB032E52A}" srcOrd="6" destOrd="0" presId="urn:microsoft.com/office/officeart/2005/8/layout/list1"/>
    <dgm:cxn modelId="{7E811724-F9C6-4108-BC19-249AF8FA3329}" type="presParOf" srcId="{C1CBB690-53A5-42E5-9D06-30BF95D83D02}" destId="{3151092F-191F-476A-A271-21F3525DE26E}" srcOrd="7" destOrd="0" presId="urn:microsoft.com/office/officeart/2005/8/layout/list1"/>
    <dgm:cxn modelId="{7805BAFF-05E4-4BD0-A5BC-31D28D6556D6}" type="presParOf" srcId="{C1CBB690-53A5-42E5-9D06-30BF95D83D02}" destId="{A4D25A77-F674-4F80-AF8F-FA5A568593B7}" srcOrd="8" destOrd="0" presId="urn:microsoft.com/office/officeart/2005/8/layout/list1"/>
    <dgm:cxn modelId="{09CBA747-AAC8-46AC-BED9-B391CE9F257B}" type="presParOf" srcId="{A4D25A77-F674-4F80-AF8F-FA5A568593B7}" destId="{E25C1A31-0C7C-49A4-8877-79F6FD330B57}" srcOrd="0" destOrd="0" presId="urn:microsoft.com/office/officeart/2005/8/layout/list1"/>
    <dgm:cxn modelId="{B52D51DA-C855-4EA0-B2EE-6B2113AE0F5A}" type="presParOf" srcId="{A4D25A77-F674-4F80-AF8F-FA5A568593B7}" destId="{0550C314-A7DC-426C-83B2-A4333510EB3B}" srcOrd="1" destOrd="0" presId="urn:microsoft.com/office/officeart/2005/8/layout/list1"/>
    <dgm:cxn modelId="{C7C3585F-1477-4C13-8093-C98A88B60C5B}" type="presParOf" srcId="{C1CBB690-53A5-42E5-9D06-30BF95D83D02}" destId="{FD3CC394-9EDE-4F0D-8B2D-4DD26F497A25}" srcOrd="9" destOrd="0" presId="urn:microsoft.com/office/officeart/2005/8/layout/list1"/>
    <dgm:cxn modelId="{B9EB525D-9AA9-4D25-A3E4-2F88BB6E2BDC}" type="presParOf" srcId="{C1CBB690-53A5-42E5-9D06-30BF95D83D02}" destId="{E075F169-F6BE-4784-AD41-1390B8A15D60}" srcOrd="10" destOrd="0" presId="urn:microsoft.com/office/officeart/2005/8/layout/list1"/>
    <dgm:cxn modelId="{E5E2E4FB-91B8-44A8-9CA2-BF4044C323FB}" type="presParOf" srcId="{C1CBB690-53A5-42E5-9D06-30BF95D83D02}" destId="{9F4AB1D1-F95E-4CFC-A927-1E85B89589DF}" srcOrd="11" destOrd="0" presId="urn:microsoft.com/office/officeart/2005/8/layout/list1"/>
    <dgm:cxn modelId="{7ABF6BE6-7D1B-4BD3-8FB0-AABEAE506603}" type="presParOf" srcId="{C1CBB690-53A5-42E5-9D06-30BF95D83D02}" destId="{0219C8BE-5253-4C21-A771-2DBFB03CCCDE}" srcOrd="12" destOrd="0" presId="urn:microsoft.com/office/officeart/2005/8/layout/list1"/>
    <dgm:cxn modelId="{7E969B90-756B-40D6-B9C2-7920542737D0}" type="presParOf" srcId="{0219C8BE-5253-4C21-A771-2DBFB03CCCDE}" destId="{8F4DE6C3-474A-4999-AEC0-2AC0AA177CD0}" srcOrd="0" destOrd="0" presId="urn:microsoft.com/office/officeart/2005/8/layout/list1"/>
    <dgm:cxn modelId="{18F68D99-9577-439A-84F1-959A04784486}" type="presParOf" srcId="{0219C8BE-5253-4C21-A771-2DBFB03CCCDE}" destId="{D1537100-12A0-4035-9D12-F908E7D87CE5}" srcOrd="1" destOrd="0" presId="urn:microsoft.com/office/officeart/2005/8/layout/list1"/>
    <dgm:cxn modelId="{DA024416-E08B-4CE0-A1A3-F63F90790DF3}" type="presParOf" srcId="{C1CBB690-53A5-42E5-9D06-30BF95D83D02}" destId="{25DDA80F-D7BD-4861-88BD-9CA69C2B1E4B}" srcOrd="13" destOrd="0" presId="urn:microsoft.com/office/officeart/2005/8/layout/list1"/>
    <dgm:cxn modelId="{303FB07D-965D-4788-AA42-6E0DC4DEF223}" type="presParOf" srcId="{C1CBB690-53A5-42E5-9D06-30BF95D83D02}" destId="{A377BA65-3DBE-4495-8E49-CF6AACF050DB}"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DCA6B97-C709-4A56-BC76-FAA186D57C24}"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US"/>
        </a:p>
      </dgm:t>
    </dgm:pt>
    <dgm:pt modelId="{D396DD1C-A884-484B-93F3-A85DC0918BDB}">
      <dgm:prSet/>
      <dgm:spPr/>
      <dgm:t>
        <a:bodyPr/>
        <a:lstStyle/>
        <a:p>
          <a:r>
            <a:rPr lang="en-US" baseline="0"/>
            <a:t>Run query</a:t>
          </a:r>
          <a:endParaRPr lang="en-US"/>
        </a:p>
      </dgm:t>
    </dgm:pt>
    <dgm:pt modelId="{AAE09116-31A9-4B21-B0BB-A8C7F44336A6}" type="parTrans" cxnId="{83985444-046B-4780-8BCC-89345A5A038F}">
      <dgm:prSet/>
      <dgm:spPr/>
      <dgm:t>
        <a:bodyPr/>
        <a:lstStyle/>
        <a:p>
          <a:endParaRPr lang="en-US"/>
        </a:p>
      </dgm:t>
    </dgm:pt>
    <dgm:pt modelId="{7B8536EF-3B54-4ECF-ACB2-D2FD4AD79544}" type="sibTrans" cxnId="{83985444-046B-4780-8BCC-89345A5A038F}">
      <dgm:prSet/>
      <dgm:spPr/>
      <dgm:t>
        <a:bodyPr/>
        <a:lstStyle/>
        <a:p>
          <a:endParaRPr lang="en-US"/>
        </a:p>
      </dgm:t>
    </dgm:pt>
    <dgm:pt modelId="{C142B63F-3BBD-4920-9DD4-72518FCF9FCD}">
      <dgm:prSet/>
      <dgm:spPr/>
      <dgm:t>
        <a:bodyPr/>
        <a:lstStyle/>
        <a:p>
          <a:r>
            <a:rPr lang="en-US" baseline="0" dirty="0"/>
            <a:t>Collect Explain plan</a:t>
          </a:r>
          <a:endParaRPr lang="en-US" dirty="0"/>
        </a:p>
      </dgm:t>
    </dgm:pt>
    <dgm:pt modelId="{34A2E28F-3ACF-4D8C-A9E4-741C3282C078}" type="parTrans" cxnId="{2DE86121-698C-4B78-BF28-B99D0D4B4193}">
      <dgm:prSet/>
      <dgm:spPr/>
      <dgm:t>
        <a:bodyPr/>
        <a:lstStyle/>
        <a:p>
          <a:endParaRPr lang="en-US"/>
        </a:p>
      </dgm:t>
    </dgm:pt>
    <dgm:pt modelId="{7DA65490-0BB4-4B2D-BB6D-6BDA622F1AD2}" type="sibTrans" cxnId="{2DE86121-698C-4B78-BF28-B99D0D4B4193}">
      <dgm:prSet/>
      <dgm:spPr/>
      <dgm:t>
        <a:bodyPr/>
        <a:lstStyle/>
        <a:p>
          <a:endParaRPr lang="en-US"/>
        </a:p>
      </dgm:t>
    </dgm:pt>
    <dgm:pt modelId="{0E028A07-98AF-45E2-B53F-79197A309748}">
      <dgm:prSet/>
      <dgm:spPr/>
      <dgm:t>
        <a:bodyPr/>
        <a:lstStyle/>
        <a:p>
          <a:r>
            <a:rPr lang="en-US" baseline="0"/>
            <a:t>Update statistics for all involved tables</a:t>
          </a:r>
          <a:endParaRPr lang="en-US"/>
        </a:p>
      </dgm:t>
    </dgm:pt>
    <dgm:pt modelId="{D1B201C3-297D-4CC8-915D-C922DCF01440}" type="parTrans" cxnId="{6D81BBAB-0FBF-4166-963F-0482BB44B6BD}">
      <dgm:prSet/>
      <dgm:spPr/>
      <dgm:t>
        <a:bodyPr/>
        <a:lstStyle/>
        <a:p>
          <a:endParaRPr lang="en-US"/>
        </a:p>
      </dgm:t>
    </dgm:pt>
    <dgm:pt modelId="{B541C6D1-A0EB-437D-BDBB-8390D305CFD0}" type="sibTrans" cxnId="{6D81BBAB-0FBF-4166-963F-0482BB44B6BD}">
      <dgm:prSet/>
      <dgm:spPr/>
      <dgm:t>
        <a:bodyPr/>
        <a:lstStyle/>
        <a:p>
          <a:endParaRPr lang="en-US"/>
        </a:p>
      </dgm:t>
    </dgm:pt>
    <dgm:pt modelId="{DF468015-FD12-409C-B992-8E8B01E2E42B}">
      <dgm:prSet/>
      <dgm:spPr/>
      <dgm:t>
        <a:bodyPr/>
        <a:lstStyle/>
        <a:p>
          <a:r>
            <a:rPr lang="en-US" baseline="0"/>
            <a:t>Compare new explain plan</a:t>
          </a:r>
          <a:endParaRPr lang="en-US"/>
        </a:p>
      </dgm:t>
    </dgm:pt>
    <dgm:pt modelId="{A6396DDC-D5E5-42EB-96AC-0CCC025FD858}" type="parTrans" cxnId="{3858DE39-B28F-4F4F-A9F4-131E70A2C43C}">
      <dgm:prSet/>
      <dgm:spPr/>
      <dgm:t>
        <a:bodyPr/>
        <a:lstStyle/>
        <a:p>
          <a:endParaRPr lang="en-US"/>
        </a:p>
      </dgm:t>
    </dgm:pt>
    <dgm:pt modelId="{1E7A33FF-D36D-45EF-95F1-89AF771CAAFD}" type="sibTrans" cxnId="{3858DE39-B28F-4F4F-A9F4-131E70A2C43C}">
      <dgm:prSet/>
      <dgm:spPr/>
      <dgm:t>
        <a:bodyPr/>
        <a:lstStyle/>
        <a:p>
          <a:endParaRPr lang="en-US"/>
        </a:p>
      </dgm:t>
    </dgm:pt>
    <dgm:pt modelId="{E54228E6-6FA4-41FC-A6E1-594406E65B3A}">
      <dgm:prSet/>
      <dgm:spPr/>
      <dgm:t>
        <a:bodyPr/>
        <a:lstStyle/>
        <a:p>
          <a:r>
            <a:rPr lang="en-US" baseline="0"/>
            <a:t>Rerun query if explain changed</a:t>
          </a:r>
          <a:endParaRPr lang="en-US"/>
        </a:p>
      </dgm:t>
    </dgm:pt>
    <dgm:pt modelId="{270513EB-4BEA-40E8-8E54-211034BB72F3}" type="parTrans" cxnId="{56F0AACF-F598-43EC-9929-0FF0FA0106D7}">
      <dgm:prSet/>
      <dgm:spPr/>
      <dgm:t>
        <a:bodyPr/>
        <a:lstStyle/>
        <a:p>
          <a:endParaRPr lang="en-US"/>
        </a:p>
      </dgm:t>
    </dgm:pt>
    <dgm:pt modelId="{563E7EE5-9773-4DB5-9D2C-6D4E35A11199}" type="sibTrans" cxnId="{56F0AACF-F598-43EC-9929-0FF0FA0106D7}">
      <dgm:prSet/>
      <dgm:spPr/>
      <dgm:t>
        <a:bodyPr/>
        <a:lstStyle/>
        <a:p>
          <a:endParaRPr lang="en-US"/>
        </a:p>
      </dgm:t>
    </dgm:pt>
    <dgm:pt modelId="{BAE3A459-2C26-4EFF-993E-98D3E4368E82}">
      <dgm:prSet/>
      <dgm:spPr/>
      <dgm:t>
        <a:bodyPr/>
        <a:lstStyle/>
        <a:p>
          <a:r>
            <a:rPr lang="en-US" baseline="0"/>
            <a:t>If still slow: create statistics on all involved columns</a:t>
          </a:r>
          <a:endParaRPr lang="en-US"/>
        </a:p>
      </dgm:t>
    </dgm:pt>
    <dgm:pt modelId="{5DEE09A1-47D0-431A-8B7E-B3A5B16DB104}" type="parTrans" cxnId="{E405C60C-4EDD-4F11-B2DD-B0F9C93305D5}">
      <dgm:prSet/>
      <dgm:spPr/>
      <dgm:t>
        <a:bodyPr/>
        <a:lstStyle/>
        <a:p>
          <a:endParaRPr lang="en-US"/>
        </a:p>
      </dgm:t>
    </dgm:pt>
    <dgm:pt modelId="{B418DC23-2959-466C-9250-BBA02B1F1AEF}" type="sibTrans" cxnId="{E405C60C-4EDD-4F11-B2DD-B0F9C93305D5}">
      <dgm:prSet/>
      <dgm:spPr/>
      <dgm:t>
        <a:bodyPr/>
        <a:lstStyle/>
        <a:p>
          <a:endParaRPr lang="en-US"/>
        </a:p>
      </dgm:t>
    </dgm:pt>
    <dgm:pt modelId="{E49D7C21-A6EF-4F72-A819-92B6EEAC0480}">
      <dgm:prSet/>
      <dgm:spPr/>
      <dgm:t>
        <a:bodyPr/>
        <a:lstStyle/>
        <a:p>
          <a:r>
            <a:rPr lang="en-US" baseline="0"/>
            <a:t>Compare new explain plan</a:t>
          </a:r>
          <a:endParaRPr lang="en-US"/>
        </a:p>
      </dgm:t>
    </dgm:pt>
    <dgm:pt modelId="{5F301802-2CC5-4D48-A218-4E12AD88BBCF}" type="parTrans" cxnId="{02EE2D92-13BC-4E11-9CF9-00936788FB45}">
      <dgm:prSet/>
      <dgm:spPr/>
      <dgm:t>
        <a:bodyPr/>
        <a:lstStyle/>
        <a:p>
          <a:endParaRPr lang="en-US"/>
        </a:p>
      </dgm:t>
    </dgm:pt>
    <dgm:pt modelId="{48BA9873-FE41-4CAC-A100-26EABE4AA5BA}" type="sibTrans" cxnId="{02EE2D92-13BC-4E11-9CF9-00936788FB45}">
      <dgm:prSet/>
      <dgm:spPr/>
      <dgm:t>
        <a:bodyPr/>
        <a:lstStyle/>
        <a:p>
          <a:endParaRPr lang="en-US"/>
        </a:p>
      </dgm:t>
    </dgm:pt>
    <dgm:pt modelId="{CFE827FB-78A7-4BD2-8C33-240936F84C2B}">
      <dgm:prSet/>
      <dgm:spPr/>
      <dgm:t>
        <a:bodyPr/>
        <a:lstStyle/>
        <a:p>
          <a:r>
            <a:rPr lang="en-US" baseline="0"/>
            <a:t>Rerun query if explain changed</a:t>
          </a:r>
          <a:endParaRPr lang="en-US"/>
        </a:p>
      </dgm:t>
    </dgm:pt>
    <dgm:pt modelId="{0A00F9B9-7CEC-4E63-A46C-13A4EAA359D9}" type="parTrans" cxnId="{C32B7517-6181-4D41-A00D-4D966919A68F}">
      <dgm:prSet/>
      <dgm:spPr/>
      <dgm:t>
        <a:bodyPr/>
        <a:lstStyle/>
        <a:p>
          <a:endParaRPr lang="en-US"/>
        </a:p>
      </dgm:t>
    </dgm:pt>
    <dgm:pt modelId="{4CA9AC49-CD30-4269-BE77-F43D648593F5}" type="sibTrans" cxnId="{C32B7517-6181-4D41-A00D-4D966919A68F}">
      <dgm:prSet/>
      <dgm:spPr/>
      <dgm:t>
        <a:bodyPr/>
        <a:lstStyle/>
        <a:p>
          <a:endParaRPr lang="en-US"/>
        </a:p>
      </dgm:t>
    </dgm:pt>
    <dgm:pt modelId="{E6CE7758-153D-4956-B5AB-D9E71F837D12}">
      <dgm:prSet/>
      <dgm:spPr/>
      <dgm:t>
        <a:bodyPr/>
        <a:lstStyle/>
        <a:p>
          <a:r>
            <a:rPr lang="en-US" baseline="0"/>
            <a:t>If still slow, you have ruled out single-column statistics</a:t>
          </a:r>
          <a:endParaRPr lang="en-US"/>
        </a:p>
      </dgm:t>
    </dgm:pt>
    <dgm:pt modelId="{1DD77A87-3EFA-4ACD-9469-9E2B51CB419E}" type="parTrans" cxnId="{2F1E6EFF-5142-46D0-8D3C-7CFB4D4C7380}">
      <dgm:prSet/>
      <dgm:spPr/>
      <dgm:t>
        <a:bodyPr/>
        <a:lstStyle/>
        <a:p>
          <a:endParaRPr lang="en-US"/>
        </a:p>
      </dgm:t>
    </dgm:pt>
    <dgm:pt modelId="{2AB0AFEE-24AE-46B8-BF2B-0F4A9CAC724B}" type="sibTrans" cxnId="{2F1E6EFF-5142-46D0-8D3C-7CFB4D4C7380}">
      <dgm:prSet/>
      <dgm:spPr/>
      <dgm:t>
        <a:bodyPr/>
        <a:lstStyle/>
        <a:p>
          <a:endParaRPr lang="en-US"/>
        </a:p>
      </dgm:t>
    </dgm:pt>
    <dgm:pt modelId="{E634DE0C-8F3D-40CB-8A16-F2251CCFFC95}" type="pres">
      <dgm:prSet presAssocID="{CDCA6B97-C709-4A56-BC76-FAA186D57C24}" presName="linear" presStyleCnt="0">
        <dgm:presLayoutVars>
          <dgm:animLvl val="lvl"/>
          <dgm:resizeHandles val="exact"/>
        </dgm:presLayoutVars>
      </dgm:prSet>
      <dgm:spPr/>
    </dgm:pt>
    <dgm:pt modelId="{1C15E69F-19B0-41B4-BB63-98C1F3E00A38}" type="pres">
      <dgm:prSet presAssocID="{D396DD1C-A884-484B-93F3-A85DC0918BDB}" presName="parentText" presStyleLbl="node1" presStyleIdx="0" presStyleCnt="9">
        <dgm:presLayoutVars>
          <dgm:chMax val="0"/>
          <dgm:bulletEnabled val="1"/>
        </dgm:presLayoutVars>
      </dgm:prSet>
      <dgm:spPr/>
    </dgm:pt>
    <dgm:pt modelId="{DFE7CAC2-E9E2-43F3-88E1-891970D1AA46}" type="pres">
      <dgm:prSet presAssocID="{7B8536EF-3B54-4ECF-ACB2-D2FD4AD79544}" presName="spacer" presStyleCnt="0"/>
      <dgm:spPr/>
    </dgm:pt>
    <dgm:pt modelId="{5E694081-8CD2-41CD-B22A-749A2098A8E3}" type="pres">
      <dgm:prSet presAssocID="{C142B63F-3BBD-4920-9DD4-72518FCF9FCD}" presName="parentText" presStyleLbl="node1" presStyleIdx="1" presStyleCnt="9">
        <dgm:presLayoutVars>
          <dgm:chMax val="0"/>
          <dgm:bulletEnabled val="1"/>
        </dgm:presLayoutVars>
      </dgm:prSet>
      <dgm:spPr/>
    </dgm:pt>
    <dgm:pt modelId="{85ACFADF-5A6C-4FEE-A91B-823E4CEB3DAD}" type="pres">
      <dgm:prSet presAssocID="{7DA65490-0BB4-4B2D-BB6D-6BDA622F1AD2}" presName="spacer" presStyleCnt="0"/>
      <dgm:spPr/>
    </dgm:pt>
    <dgm:pt modelId="{500D62A5-306E-4EC7-9441-59225783D047}" type="pres">
      <dgm:prSet presAssocID="{0E028A07-98AF-45E2-B53F-79197A309748}" presName="parentText" presStyleLbl="node1" presStyleIdx="2" presStyleCnt="9">
        <dgm:presLayoutVars>
          <dgm:chMax val="0"/>
          <dgm:bulletEnabled val="1"/>
        </dgm:presLayoutVars>
      </dgm:prSet>
      <dgm:spPr/>
    </dgm:pt>
    <dgm:pt modelId="{7256D09F-4A83-4B80-B9AF-5BC044F00D5A}" type="pres">
      <dgm:prSet presAssocID="{B541C6D1-A0EB-437D-BDBB-8390D305CFD0}" presName="spacer" presStyleCnt="0"/>
      <dgm:spPr/>
    </dgm:pt>
    <dgm:pt modelId="{E31F98B4-5588-4363-A84A-A315F8DE21F4}" type="pres">
      <dgm:prSet presAssocID="{DF468015-FD12-409C-B992-8E8B01E2E42B}" presName="parentText" presStyleLbl="node1" presStyleIdx="3" presStyleCnt="9">
        <dgm:presLayoutVars>
          <dgm:chMax val="0"/>
          <dgm:bulletEnabled val="1"/>
        </dgm:presLayoutVars>
      </dgm:prSet>
      <dgm:spPr/>
    </dgm:pt>
    <dgm:pt modelId="{2F24025A-CB2E-4A21-98A1-262837792A95}" type="pres">
      <dgm:prSet presAssocID="{1E7A33FF-D36D-45EF-95F1-89AF771CAAFD}" presName="spacer" presStyleCnt="0"/>
      <dgm:spPr/>
    </dgm:pt>
    <dgm:pt modelId="{DAED3CFE-86ED-4AD0-8948-E47BFE24C1DB}" type="pres">
      <dgm:prSet presAssocID="{E54228E6-6FA4-41FC-A6E1-594406E65B3A}" presName="parentText" presStyleLbl="node1" presStyleIdx="4" presStyleCnt="9">
        <dgm:presLayoutVars>
          <dgm:chMax val="0"/>
          <dgm:bulletEnabled val="1"/>
        </dgm:presLayoutVars>
      </dgm:prSet>
      <dgm:spPr/>
    </dgm:pt>
    <dgm:pt modelId="{AE21CBD7-8081-4700-BBFC-02FBCFA20FC9}" type="pres">
      <dgm:prSet presAssocID="{563E7EE5-9773-4DB5-9D2C-6D4E35A11199}" presName="spacer" presStyleCnt="0"/>
      <dgm:spPr/>
    </dgm:pt>
    <dgm:pt modelId="{6E7A7ED1-0D76-4835-88CD-4E83C16FA1C2}" type="pres">
      <dgm:prSet presAssocID="{BAE3A459-2C26-4EFF-993E-98D3E4368E82}" presName="parentText" presStyleLbl="node1" presStyleIdx="5" presStyleCnt="9">
        <dgm:presLayoutVars>
          <dgm:chMax val="0"/>
          <dgm:bulletEnabled val="1"/>
        </dgm:presLayoutVars>
      </dgm:prSet>
      <dgm:spPr/>
    </dgm:pt>
    <dgm:pt modelId="{E3A4CFEC-2C63-4EF5-8C2E-25BF70F2350E}" type="pres">
      <dgm:prSet presAssocID="{B418DC23-2959-466C-9250-BBA02B1F1AEF}" presName="spacer" presStyleCnt="0"/>
      <dgm:spPr/>
    </dgm:pt>
    <dgm:pt modelId="{0C15E85D-7697-4CF2-A39A-0CE86B44240E}" type="pres">
      <dgm:prSet presAssocID="{E49D7C21-A6EF-4F72-A819-92B6EEAC0480}" presName="parentText" presStyleLbl="node1" presStyleIdx="6" presStyleCnt="9">
        <dgm:presLayoutVars>
          <dgm:chMax val="0"/>
          <dgm:bulletEnabled val="1"/>
        </dgm:presLayoutVars>
      </dgm:prSet>
      <dgm:spPr/>
    </dgm:pt>
    <dgm:pt modelId="{47763CB2-90B7-4255-A313-FC0413A00063}" type="pres">
      <dgm:prSet presAssocID="{48BA9873-FE41-4CAC-A100-26EABE4AA5BA}" presName="spacer" presStyleCnt="0"/>
      <dgm:spPr/>
    </dgm:pt>
    <dgm:pt modelId="{1FFFF394-C07C-440D-9405-A22D8C46D18E}" type="pres">
      <dgm:prSet presAssocID="{CFE827FB-78A7-4BD2-8C33-240936F84C2B}" presName="parentText" presStyleLbl="node1" presStyleIdx="7" presStyleCnt="9">
        <dgm:presLayoutVars>
          <dgm:chMax val="0"/>
          <dgm:bulletEnabled val="1"/>
        </dgm:presLayoutVars>
      </dgm:prSet>
      <dgm:spPr/>
    </dgm:pt>
    <dgm:pt modelId="{F842EB1B-E6EB-4C9E-B79B-8276ED0FF6EA}" type="pres">
      <dgm:prSet presAssocID="{4CA9AC49-CD30-4269-BE77-F43D648593F5}" presName="spacer" presStyleCnt="0"/>
      <dgm:spPr/>
    </dgm:pt>
    <dgm:pt modelId="{40B0F4FA-51DD-4B0A-86D1-5DFB4A6828B0}" type="pres">
      <dgm:prSet presAssocID="{E6CE7758-153D-4956-B5AB-D9E71F837D12}" presName="parentText" presStyleLbl="node1" presStyleIdx="8" presStyleCnt="9">
        <dgm:presLayoutVars>
          <dgm:chMax val="0"/>
          <dgm:bulletEnabled val="1"/>
        </dgm:presLayoutVars>
      </dgm:prSet>
      <dgm:spPr/>
    </dgm:pt>
  </dgm:ptLst>
  <dgm:cxnLst>
    <dgm:cxn modelId="{12D61507-9F55-4BA3-AA5B-AEDA54B72CE5}" type="presOf" srcId="{E6CE7758-153D-4956-B5AB-D9E71F837D12}" destId="{40B0F4FA-51DD-4B0A-86D1-5DFB4A6828B0}" srcOrd="0" destOrd="0" presId="urn:microsoft.com/office/officeart/2005/8/layout/vList2"/>
    <dgm:cxn modelId="{E405C60C-4EDD-4F11-B2DD-B0F9C93305D5}" srcId="{CDCA6B97-C709-4A56-BC76-FAA186D57C24}" destId="{BAE3A459-2C26-4EFF-993E-98D3E4368E82}" srcOrd="5" destOrd="0" parTransId="{5DEE09A1-47D0-431A-8B7E-B3A5B16DB104}" sibTransId="{B418DC23-2959-466C-9250-BBA02B1F1AEF}"/>
    <dgm:cxn modelId="{C7B1FF10-68F0-47CF-874A-3FE458A73FA3}" type="presOf" srcId="{E49D7C21-A6EF-4F72-A819-92B6EEAC0480}" destId="{0C15E85D-7697-4CF2-A39A-0CE86B44240E}" srcOrd="0" destOrd="0" presId="urn:microsoft.com/office/officeart/2005/8/layout/vList2"/>
    <dgm:cxn modelId="{7F340717-9231-4621-BFCE-D467ADE2D94B}" type="presOf" srcId="{C142B63F-3BBD-4920-9DD4-72518FCF9FCD}" destId="{5E694081-8CD2-41CD-B22A-749A2098A8E3}" srcOrd="0" destOrd="0" presId="urn:microsoft.com/office/officeart/2005/8/layout/vList2"/>
    <dgm:cxn modelId="{C32B7517-6181-4D41-A00D-4D966919A68F}" srcId="{CDCA6B97-C709-4A56-BC76-FAA186D57C24}" destId="{CFE827FB-78A7-4BD2-8C33-240936F84C2B}" srcOrd="7" destOrd="0" parTransId="{0A00F9B9-7CEC-4E63-A46C-13A4EAA359D9}" sibTransId="{4CA9AC49-CD30-4269-BE77-F43D648593F5}"/>
    <dgm:cxn modelId="{8729F81B-7D7E-44FA-A8C1-BF887E283A5F}" type="presOf" srcId="{0E028A07-98AF-45E2-B53F-79197A309748}" destId="{500D62A5-306E-4EC7-9441-59225783D047}" srcOrd="0" destOrd="0" presId="urn:microsoft.com/office/officeart/2005/8/layout/vList2"/>
    <dgm:cxn modelId="{2DE86121-698C-4B78-BF28-B99D0D4B4193}" srcId="{CDCA6B97-C709-4A56-BC76-FAA186D57C24}" destId="{C142B63F-3BBD-4920-9DD4-72518FCF9FCD}" srcOrd="1" destOrd="0" parTransId="{34A2E28F-3ACF-4D8C-A9E4-741C3282C078}" sibTransId="{7DA65490-0BB4-4B2D-BB6D-6BDA622F1AD2}"/>
    <dgm:cxn modelId="{6E6EAD38-AF07-4609-91F6-57CC4CF88228}" type="presOf" srcId="{D396DD1C-A884-484B-93F3-A85DC0918BDB}" destId="{1C15E69F-19B0-41B4-BB63-98C1F3E00A38}" srcOrd="0" destOrd="0" presId="urn:microsoft.com/office/officeart/2005/8/layout/vList2"/>
    <dgm:cxn modelId="{3858DE39-B28F-4F4F-A9F4-131E70A2C43C}" srcId="{CDCA6B97-C709-4A56-BC76-FAA186D57C24}" destId="{DF468015-FD12-409C-B992-8E8B01E2E42B}" srcOrd="3" destOrd="0" parTransId="{A6396DDC-D5E5-42EB-96AC-0CCC025FD858}" sibTransId="{1E7A33FF-D36D-45EF-95F1-89AF771CAAFD}"/>
    <dgm:cxn modelId="{83985444-046B-4780-8BCC-89345A5A038F}" srcId="{CDCA6B97-C709-4A56-BC76-FAA186D57C24}" destId="{D396DD1C-A884-484B-93F3-A85DC0918BDB}" srcOrd="0" destOrd="0" parTransId="{AAE09116-31A9-4B21-B0BB-A8C7F44336A6}" sibTransId="{7B8536EF-3B54-4ECF-ACB2-D2FD4AD79544}"/>
    <dgm:cxn modelId="{EC8A2146-D215-4827-81BF-C19B7383D84C}" type="presOf" srcId="{CDCA6B97-C709-4A56-BC76-FAA186D57C24}" destId="{E634DE0C-8F3D-40CB-8A16-F2251CCFFC95}" srcOrd="0" destOrd="0" presId="urn:microsoft.com/office/officeart/2005/8/layout/vList2"/>
    <dgm:cxn modelId="{04FF8E72-2637-4D8D-A51C-C58B39F3D513}" type="presOf" srcId="{CFE827FB-78A7-4BD2-8C33-240936F84C2B}" destId="{1FFFF394-C07C-440D-9405-A22D8C46D18E}" srcOrd="0" destOrd="0" presId="urn:microsoft.com/office/officeart/2005/8/layout/vList2"/>
    <dgm:cxn modelId="{A48EF680-10B0-4B1E-8115-E6825E94D771}" type="presOf" srcId="{DF468015-FD12-409C-B992-8E8B01E2E42B}" destId="{E31F98B4-5588-4363-A84A-A315F8DE21F4}" srcOrd="0" destOrd="0" presId="urn:microsoft.com/office/officeart/2005/8/layout/vList2"/>
    <dgm:cxn modelId="{02EE2D92-13BC-4E11-9CF9-00936788FB45}" srcId="{CDCA6B97-C709-4A56-BC76-FAA186D57C24}" destId="{E49D7C21-A6EF-4F72-A819-92B6EEAC0480}" srcOrd="6" destOrd="0" parTransId="{5F301802-2CC5-4D48-A218-4E12AD88BBCF}" sibTransId="{48BA9873-FE41-4CAC-A100-26EABE4AA5BA}"/>
    <dgm:cxn modelId="{6D81BBAB-0FBF-4166-963F-0482BB44B6BD}" srcId="{CDCA6B97-C709-4A56-BC76-FAA186D57C24}" destId="{0E028A07-98AF-45E2-B53F-79197A309748}" srcOrd="2" destOrd="0" parTransId="{D1B201C3-297D-4CC8-915D-C922DCF01440}" sibTransId="{B541C6D1-A0EB-437D-BDBB-8390D305CFD0}"/>
    <dgm:cxn modelId="{B58AE7BE-9263-4506-BDA4-CC925BFA9FCF}" type="presOf" srcId="{E54228E6-6FA4-41FC-A6E1-594406E65B3A}" destId="{DAED3CFE-86ED-4AD0-8948-E47BFE24C1DB}" srcOrd="0" destOrd="0" presId="urn:microsoft.com/office/officeart/2005/8/layout/vList2"/>
    <dgm:cxn modelId="{56F0AACF-F598-43EC-9929-0FF0FA0106D7}" srcId="{CDCA6B97-C709-4A56-BC76-FAA186D57C24}" destId="{E54228E6-6FA4-41FC-A6E1-594406E65B3A}" srcOrd="4" destOrd="0" parTransId="{270513EB-4BEA-40E8-8E54-211034BB72F3}" sibTransId="{563E7EE5-9773-4DB5-9D2C-6D4E35A11199}"/>
    <dgm:cxn modelId="{D52D2FF0-204E-43C0-8995-6FAB3CDEAA65}" type="presOf" srcId="{BAE3A459-2C26-4EFF-993E-98D3E4368E82}" destId="{6E7A7ED1-0D76-4835-88CD-4E83C16FA1C2}" srcOrd="0" destOrd="0" presId="urn:microsoft.com/office/officeart/2005/8/layout/vList2"/>
    <dgm:cxn modelId="{2F1E6EFF-5142-46D0-8D3C-7CFB4D4C7380}" srcId="{CDCA6B97-C709-4A56-BC76-FAA186D57C24}" destId="{E6CE7758-153D-4956-B5AB-D9E71F837D12}" srcOrd="8" destOrd="0" parTransId="{1DD77A87-3EFA-4ACD-9469-9E2B51CB419E}" sibTransId="{2AB0AFEE-24AE-46B8-BF2B-0F4A9CAC724B}"/>
    <dgm:cxn modelId="{F91391F3-7975-4BD3-BE2F-BB3C9502A83D}" type="presParOf" srcId="{E634DE0C-8F3D-40CB-8A16-F2251CCFFC95}" destId="{1C15E69F-19B0-41B4-BB63-98C1F3E00A38}" srcOrd="0" destOrd="0" presId="urn:microsoft.com/office/officeart/2005/8/layout/vList2"/>
    <dgm:cxn modelId="{E49A164C-2DAD-4252-A0A3-B429A08F7E19}" type="presParOf" srcId="{E634DE0C-8F3D-40CB-8A16-F2251CCFFC95}" destId="{DFE7CAC2-E9E2-43F3-88E1-891970D1AA46}" srcOrd="1" destOrd="0" presId="urn:microsoft.com/office/officeart/2005/8/layout/vList2"/>
    <dgm:cxn modelId="{888FEA43-70B4-4092-A03D-6227F8F64A05}" type="presParOf" srcId="{E634DE0C-8F3D-40CB-8A16-F2251CCFFC95}" destId="{5E694081-8CD2-41CD-B22A-749A2098A8E3}" srcOrd="2" destOrd="0" presId="urn:microsoft.com/office/officeart/2005/8/layout/vList2"/>
    <dgm:cxn modelId="{CE5675D4-C6A7-42F7-B28B-987716629CCA}" type="presParOf" srcId="{E634DE0C-8F3D-40CB-8A16-F2251CCFFC95}" destId="{85ACFADF-5A6C-4FEE-A91B-823E4CEB3DAD}" srcOrd="3" destOrd="0" presId="urn:microsoft.com/office/officeart/2005/8/layout/vList2"/>
    <dgm:cxn modelId="{E11E8A99-E6AF-4381-A0A4-581A7CBC94BE}" type="presParOf" srcId="{E634DE0C-8F3D-40CB-8A16-F2251CCFFC95}" destId="{500D62A5-306E-4EC7-9441-59225783D047}" srcOrd="4" destOrd="0" presId="urn:microsoft.com/office/officeart/2005/8/layout/vList2"/>
    <dgm:cxn modelId="{017E51FE-C2B0-4209-A911-D3D16E778953}" type="presParOf" srcId="{E634DE0C-8F3D-40CB-8A16-F2251CCFFC95}" destId="{7256D09F-4A83-4B80-B9AF-5BC044F00D5A}" srcOrd="5" destOrd="0" presId="urn:microsoft.com/office/officeart/2005/8/layout/vList2"/>
    <dgm:cxn modelId="{EB969D16-5B20-4579-93BD-FCF29E62D159}" type="presParOf" srcId="{E634DE0C-8F3D-40CB-8A16-F2251CCFFC95}" destId="{E31F98B4-5588-4363-A84A-A315F8DE21F4}" srcOrd="6" destOrd="0" presId="urn:microsoft.com/office/officeart/2005/8/layout/vList2"/>
    <dgm:cxn modelId="{0EF0C953-970F-4BEA-A2DC-C9B24EC56904}" type="presParOf" srcId="{E634DE0C-8F3D-40CB-8A16-F2251CCFFC95}" destId="{2F24025A-CB2E-4A21-98A1-262837792A95}" srcOrd="7" destOrd="0" presId="urn:microsoft.com/office/officeart/2005/8/layout/vList2"/>
    <dgm:cxn modelId="{49EB73A1-1257-4E1D-A801-A744450C6118}" type="presParOf" srcId="{E634DE0C-8F3D-40CB-8A16-F2251CCFFC95}" destId="{DAED3CFE-86ED-4AD0-8948-E47BFE24C1DB}" srcOrd="8" destOrd="0" presId="urn:microsoft.com/office/officeart/2005/8/layout/vList2"/>
    <dgm:cxn modelId="{91FE3EE2-6846-4741-83EE-15FCCBD17DF1}" type="presParOf" srcId="{E634DE0C-8F3D-40CB-8A16-F2251CCFFC95}" destId="{AE21CBD7-8081-4700-BBFC-02FBCFA20FC9}" srcOrd="9" destOrd="0" presId="urn:microsoft.com/office/officeart/2005/8/layout/vList2"/>
    <dgm:cxn modelId="{B330D106-B86B-42B7-9038-73B3333A3B0C}" type="presParOf" srcId="{E634DE0C-8F3D-40CB-8A16-F2251CCFFC95}" destId="{6E7A7ED1-0D76-4835-88CD-4E83C16FA1C2}" srcOrd="10" destOrd="0" presId="urn:microsoft.com/office/officeart/2005/8/layout/vList2"/>
    <dgm:cxn modelId="{15D0000E-7669-4026-B7BF-C97EB943B8CE}" type="presParOf" srcId="{E634DE0C-8F3D-40CB-8A16-F2251CCFFC95}" destId="{E3A4CFEC-2C63-4EF5-8C2E-25BF70F2350E}" srcOrd="11" destOrd="0" presId="urn:microsoft.com/office/officeart/2005/8/layout/vList2"/>
    <dgm:cxn modelId="{02FE2BE0-45B6-442F-ACD4-A82761693148}" type="presParOf" srcId="{E634DE0C-8F3D-40CB-8A16-F2251CCFFC95}" destId="{0C15E85D-7697-4CF2-A39A-0CE86B44240E}" srcOrd="12" destOrd="0" presId="urn:microsoft.com/office/officeart/2005/8/layout/vList2"/>
    <dgm:cxn modelId="{BE85F044-9689-4672-9DF2-7EFD0F3111E0}" type="presParOf" srcId="{E634DE0C-8F3D-40CB-8A16-F2251CCFFC95}" destId="{47763CB2-90B7-4255-A313-FC0413A00063}" srcOrd="13" destOrd="0" presId="urn:microsoft.com/office/officeart/2005/8/layout/vList2"/>
    <dgm:cxn modelId="{EECFD2D1-B8F5-492E-BD82-26EA767225FF}" type="presParOf" srcId="{E634DE0C-8F3D-40CB-8A16-F2251CCFFC95}" destId="{1FFFF394-C07C-440D-9405-A22D8C46D18E}" srcOrd="14" destOrd="0" presId="urn:microsoft.com/office/officeart/2005/8/layout/vList2"/>
    <dgm:cxn modelId="{F675E20A-AE84-4A10-9DAD-4F4215DA2DE4}" type="presParOf" srcId="{E634DE0C-8F3D-40CB-8A16-F2251CCFFC95}" destId="{F842EB1B-E6EB-4C9E-B79B-8276ED0FF6EA}" srcOrd="15" destOrd="0" presId="urn:microsoft.com/office/officeart/2005/8/layout/vList2"/>
    <dgm:cxn modelId="{A7BC49C2-1601-40F2-9E91-242ED6A2AFE1}" type="presParOf" srcId="{E634DE0C-8F3D-40CB-8A16-F2251CCFFC95}" destId="{40B0F4FA-51DD-4B0A-86D1-5DFB4A6828B0}" srcOrd="1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FABF8E-0682-4DDE-96C9-8ABEDB20F4E2}">
      <dsp:nvSpPr>
        <dsp:cNvPr id="0" name=""/>
        <dsp:cNvSpPr/>
      </dsp:nvSpPr>
      <dsp:spPr>
        <a:xfrm>
          <a:off x="0" y="3392"/>
          <a:ext cx="11674414" cy="98053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Resources required for query execution:</a:t>
          </a:r>
        </a:p>
      </dsp:txBody>
      <dsp:txXfrm>
        <a:off x="47866" y="51258"/>
        <a:ext cx="11578682" cy="884801"/>
      </dsp:txXfrm>
    </dsp:sp>
    <dsp:sp modelId="{C7C1047C-4E06-4D87-9263-79563F0609BA}">
      <dsp:nvSpPr>
        <dsp:cNvPr id="0" name=""/>
        <dsp:cNvSpPr/>
      </dsp:nvSpPr>
      <dsp:spPr>
        <a:xfrm>
          <a:off x="0" y="1105664"/>
          <a:ext cx="11674414" cy="14759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706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CPU</a:t>
          </a:r>
        </a:p>
        <a:p>
          <a:pPr marL="228600" lvl="1" indent="-228600" algn="l" defTabSz="889000">
            <a:lnSpc>
              <a:spcPct val="90000"/>
            </a:lnSpc>
            <a:spcBef>
              <a:spcPct val="0"/>
            </a:spcBef>
            <a:spcAft>
              <a:spcPct val="20000"/>
            </a:spcAft>
            <a:buChar char="•"/>
          </a:pPr>
          <a:r>
            <a:rPr lang="en-US" sz="2000" kern="1200" dirty="0"/>
            <a:t>Data IO</a:t>
          </a:r>
        </a:p>
        <a:p>
          <a:pPr marL="228600" lvl="1" indent="-228600" algn="l" defTabSz="889000">
            <a:lnSpc>
              <a:spcPct val="90000"/>
            </a:lnSpc>
            <a:spcBef>
              <a:spcPct val="0"/>
            </a:spcBef>
            <a:spcAft>
              <a:spcPct val="20000"/>
            </a:spcAft>
            <a:buChar char="•"/>
          </a:pPr>
          <a:r>
            <a:rPr lang="en-US" sz="2000" kern="1200" dirty="0"/>
            <a:t>Memory</a:t>
          </a:r>
        </a:p>
        <a:p>
          <a:pPr marL="228600" lvl="1" indent="-228600" algn="l" defTabSz="889000">
            <a:lnSpc>
              <a:spcPct val="90000"/>
            </a:lnSpc>
            <a:spcBef>
              <a:spcPct val="0"/>
            </a:spcBef>
            <a:spcAft>
              <a:spcPct val="20000"/>
            </a:spcAft>
            <a:buChar char="•"/>
          </a:pPr>
          <a:r>
            <a:rPr lang="en-US" sz="2000" kern="1200" dirty="0"/>
            <a:t>TempDB</a:t>
          </a:r>
        </a:p>
      </dsp:txBody>
      <dsp:txXfrm>
        <a:off x="0" y="1105664"/>
        <a:ext cx="11674414" cy="1475910"/>
      </dsp:txXfrm>
    </dsp:sp>
    <dsp:sp modelId="{1C2B36C9-BAA8-47C3-A1A8-5CF39816FA27}">
      <dsp:nvSpPr>
        <dsp:cNvPr id="0" name=""/>
        <dsp:cNvSpPr/>
      </dsp:nvSpPr>
      <dsp:spPr>
        <a:xfrm>
          <a:off x="0" y="2744406"/>
          <a:ext cx="11674414" cy="98053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In Azure Synapse, memory is allocated per query using workload groups while CPU, Data IO, </a:t>
          </a:r>
          <a:r>
            <a:rPr lang="en-US" sz="2300" kern="1200" dirty="0" err="1"/>
            <a:t>Tempdb</a:t>
          </a:r>
          <a:r>
            <a:rPr lang="en-US" sz="2300" kern="1200" dirty="0"/>
            <a:t> are managed internally and allocated as needed for query execution.</a:t>
          </a:r>
        </a:p>
      </dsp:txBody>
      <dsp:txXfrm>
        <a:off x="47866" y="2792272"/>
        <a:ext cx="11578682" cy="884801"/>
      </dsp:txXfrm>
    </dsp:sp>
    <dsp:sp modelId="{8A3D70C8-3207-4C93-9D18-9BD5E423D23A}">
      <dsp:nvSpPr>
        <dsp:cNvPr id="0" name=""/>
        <dsp:cNvSpPr/>
      </dsp:nvSpPr>
      <dsp:spPr>
        <a:xfrm>
          <a:off x="0" y="3765179"/>
          <a:ext cx="11674414" cy="98053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Query concurrency is calculated by the percentage of memory allocated to each query</a:t>
          </a:r>
        </a:p>
      </dsp:txBody>
      <dsp:txXfrm>
        <a:off x="47866" y="3813045"/>
        <a:ext cx="11578682" cy="884801"/>
      </dsp:txXfrm>
    </dsp:sp>
    <dsp:sp modelId="{8402726C-1275-4E49-A13D-4A48AB4DF09D}">
      <dsp:nvSpPr>
        <dsp:cNvPr id="0" name=""/>
        <dsp:cNvSpPr/>
      </dsp:nvSpPr>
      <dsp:spPr>
        <a:xfrm>
          <a:off x="0" y="4859397"/>
          <a:ext cx="11674414"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706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Less memory per query = higher concurrency</a:t>
          </a:r>
        </a:p>
      </dsp:txBody>
      <dsp:txXfrm>
        <a:off x="0" y="4859397"/>
        <a:ext cx="11674414" cy="38088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8F9661-D331-48C8-A949-ABB1C724BBED}">
      <dsp:nvSpPr>
        <dsp:cNvPr id="0" name=""/>
        <dsp:cNvSpPr/>
      </dsp:nvSpPr>
      <dsp:spPr>
        <a:xfrm rot="5400000">
          <a:off x="6913605" y="-2757186"/>
          <a:ext cx="1267302" cy="710330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baseline="0"/>
            <a:t>Even if it’s not necessary, adding the distribution column to joins can help remove data movement</a:t>
          </a:r>
          <a:endParaRPr lang="en-US" sz="1700" kern="1200"/>
        </a:p>
        <a:p>
          <a:pPr marL="171450" lvl="1" indent="-171450" algn="l" defTabSz="755650">
            <a:lnSpc>
              <a:spcPct val="90000"/>
            </a:lnSpc>
            <a:spcBef>
              <a:spcPct val="0"/>
            </a:spcBef>
            <a:spcAft>
              <a:spcPct val="15000"/>
            </a:spcAft>
            <a:buChar char="•"/>
          </a:pPr>
          <a:r>
            <a:rPr lang="en-US" sz="1700" kern="1200" baseline="0"/>
            <a:t>This is also true for GROUP BY’s</a:t>
          </a:r>
          <a:endParaRPr lang="en-US" sz="1700" kern="1200"/>
        </a:p>
      </dsp:txBody>
      <dsp:txXfrm rot="-5400000">
        <a:off x="3995607" y="222677"/>
        <a:ext cx="7041435" cy="1143572"/>
      </dsp:txXfrm>
    </dsp:sp>
    <dsp:sp modelId="{A5E658F7-8CBC-470E-ADE8-84A02B5B7E00}">
      <dsp:nvSpPr>
        <dsp:cNvPr id="0" name=""/>
        <dsp:cNvSpPr/>
      </dsp:nvSpPr>
      <dsp:spPr>
        <a:xfrm>
          <a:off x="0" y="2400"/>
          <a:ext cx="3995606" cy="158412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Is the distribution column included in the join criteria?</a:t>
          </a:r>
          <a:endParaRPr lang="en-US" sz="2800" kern="1200"/>
        </a:p>
      </dsp:txBody>
      <dsp:txXfrm>
        <a:off x="77331" y="79731"/>
        <a:ext cx="3840944" cy="1429465"/>
      </dsp:txXfrm>
    </dsp:sp>
    <dsp:sp modelId="{5F2B5F79-625C-49A1-979B-C9E5997F39E6}">
      <dsp:nvSpPr>
        <dsp:cNvPr id="0" name=""/>
        <dsp:cNvSpPr/>
      </dsp:nvSpPr>
      <dsp:spPr>
        <a:xfrm rot="5400000">
          <a:off x="6913605" y="-1093851"/>
          <a:ext cx="1267302" cy="710330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baseline="0"/>
            <a:t>Optimizer cannot estimate the result if you are joining on a column whose value is calculated at query time</a:t>
          </a:r>
          <a:endParaRPr lang="en-US" sz="1700" kern="1200"/>
        </a:p>
      </dsp:txBody>
      <dsp:txXfrm rot="-5400000">
        <a:off x="3995607" y="1886012"/>
        <a:ext cx="7041435" cy="1143572"/>
      </dsp:txXfrm>
    </dsp:sp>
    <dsp:sp modelId="{37A173B5-A8BD-4F5F-9E19-1DDABD244B03}">
      <dsp:nvSpPr>
        <dsp:cNvPr id="0" name=""/>
        <dsp:cNvSpPr/>
      </dsp:nvSpPr>
      <dsp:spPr>
        <a:xfrm>
          <a:off x="0" y="1665734"/>
          <a:ext cx="3995606" cy="158412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Are the join fields calculated?</a:t>
          </a:r>
          <a:endParaRPr lang="en-US" sz="2800" kern="1200"/>
        </a:p>
      </dsp:txBody>
      <dsp:txXfrm>
        <a:off x="77331" y="1743065"/>
        <a:ext cx="3840944" cy="1429465"/>
      </dsp:txXfrm>
    </dsp:sp>
    <dsp:sp modelId="{C57EA26E-5DD0-433E-BB8B-E985F339C16B}">
      <dsp:nvSpPr>
        <dsp:cNvPr id="0" name=""/>
        <dsp:cNvSpPr/>
      </dsp:nvSpPr>
      <dsp:spPr>
        <a:xfrm rot="5400000">
          <a:off x="6913605" y="569482"/>
          <a:ext cx="1267302" cy="710330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baseline="0"/>
            <a:t>Optimizer may choose to change join order in order to make the plan more efficient</a:t>
          </a:r>
          <a:endParaRPr lang="en-US" sz="1700" kern="1200"/>
        </a:p>
        <a:p>
          <a:pPr marL="171450" lvl="1" indent="-171450" algn="l" defTabSz="755650">
            <a:lnSpc>
              <a:spcPct val="90000"/>
            </a:lnSpc>
            <a:spcBef>
              <a:spcPct val="0"/>
            </a:spcBef>
            <a:spcAft>
              <a:spcPct val="15000"/>
            </a:spcAft>
            <a:buChar char="•"/>
          </a:pPr>
          <a:r>
            <a:rPr lang="en-US" sz="1700" kern="1200" baseline="0"/>
            <a:t>To force the order of the joins to be executed as-written you can use OPTION(FORCE ORDER)</a:t>
          </a:r>
          <a:endParaRPr lang="en-US" sz="1700" kern="1200"/>
        </a:p>
      </dsp:txBody>
      <dsp:txXfrm rot="-5400000">
        <a:off x="3995607" y="3549346"/>
        <a:ext cx="7041435" cy="1143572"/>
      </dsp:txXfrm>
    </dsp:sp>
    <dsp:sp modelId="{C7B831A1-9374-4843-907B-7FF454DB4A1D}">
      <dsp:nvSpPr>
        <dsp:cNvPr id="0" name=""/>
        <dsp:cNvSpPr/>
      </dsp:nvSpPr>
      <dsp:spPr>
        <a:xfrm>
          <a:off x="0" y="3329068"/>
          <a:ext cx="3995606" cy="158412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Order of join execution is not guaranteed</a:t>
          </a:r>
          <a:endParaRPr lang="en-US" sz="2800" kern="1200"/>
        </a:p>
      </dsp:txBody>
      <dsp:txXfrm>
        <a:off x="77331" y="3406399"/>
        <a:ext cx="3840944" cy="142946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A1BB68-6CCF-4263-9161-E8A95526FC6C}">
      <dsp:nvSpPr>
        <dsp:cNvPr id="0" name=""/>
        <dsp:cNvSpPr/>
      </dsp:nvSpPr>
      <dsp:spPr>
        <a:xfrm>
          <a:off x="0" y="47710"/>
          <a:ext cx="11098906" cy="772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dirty="0"/>
            <a:t>Repeated subqueries should be rewritten as a single temp table</a:t>
          </a:r>
          <a:endParaRPr lang="en-US" sz="3000" kern="1200" dirty="0"/>
        </a:p>
      </dsp:txBody>
      <dsp:txXfrm>
        <a:off x="37696" y="85406"/>
        <a:ext cx="11023514" cy="696808"/>
      </dsp:txXfrm>
    </dsp:sp>
    <dsp:sp modelId="{20FE4E50-1BF2-4F84-878E-E77298D22543}">
      <dsp:nvSpPr>
        <dsp:cNvPr id="0" name=""/>
        <dsp:cNvSpPr/>
      </dsp:nvSpPr>
      <dsp:spPr>
        <a:xfrm>
          <a:off x="0" y="819910"/>
          <a:ext cx="11098906" cy="853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Single execution of the subquery</a:t>
          </a:r>
        </a:p>
        <a:p>
          <a:pPr marL="228600" lvl="1" indent="-228600" algn="l" defTabSz="1022350">
            <a:lnSpc>
              <a:spcPct val="90000"/>
            </a:lnSpc>
            <a:spcBef>
              <a:spcPct val="0"/>
            </a:spcBef>
            <a:spcAft>
              <a:spcPct val="20000"/>
            </a:spcAft>
            <a:buChar char="•"/>
          </a:pPr>
          <a:r>
            <a:rPr lang="en-US" sz="2300" kern="1200" dirty="0"/>
            <a:t>TempDB is on local </a:t>
          </a:r>
          <a:r>
            <a:rPr lang="en-US" sz="2300" kern="1200" dirty="0" err="1"/>
            <a:t>NVMe</a:t>
          </a:r>
          <a:r>
            <a:rPr lang="en-US" sz="2300" kern="1200" dirty="0"/>
            <a:t> storage – much faster than regular table storage</a:t>
          </a:r>
        </a:p>
      </dsp:txBody>
      <dsp:txXfrm>
        <a:off x="0" y="819910"/>
        <a:ext cx="11098906" cy="853875"/>
      </dsp:txXfrm>
    </dsp:sp>
    <dsp:sp modelId="{CCA07193-F318-4E8F-8FDD-54157A453A5A}">
      <dsp:nvSpPr>
        <dsp:cNvPr id="0" name=""/>
        <dsp:cNvSpPr/>
      </dsp:nvSpPr>
      <dsp:spPr>
        <a:xfrm>
          <a:off x="0" y="1673785"/>
          <a:ext cx="11098906" cy="772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baseline="0"/>
            <a:t>Break up large queries </a:t>
          </a:r>
          <a:endParaRPr lang="en-US" sz="3000" kern="1200"/>
        </a:p>
      </dsp:txBody>
      <dsp:txXfrm>
        <a:off x="37696" y="1711481"/>
        <a:ext cx="11023514" cy="696808"/>
      </dsp:txXfrm>
    </dsp:sp>
    <dsp:sp modelId="{BFC810B7-C653-45E1-B57E-167D8681A241}">
      <dsp:nvSpPr>
        <dsp:cNvPr id="0" name=""/>
        <dsp:cNvSpPr/>
      </dsp:nvSpPr>
      <dsp:spPr>
        <a:xfrm>
          <a:off x="0" y="2445986"/>
          <a:ext cx="11098906" cy="24219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US" sz="2300" kern="1200" baseline="0"/>
            <a:t>Complex queries can sometimes take hundreds of query steps to solve</a:t>
          </a:r>
          <a:endParaRPr lang="en-US" sz="2300" kern="1200"/>
        </a:p>
        <a:p>
          <a:pPr marL="228600" lvl="1" indent="-228600" algn="l" defTabSz="1022350">
            <a:lnSpc>
              <a:spcPct val="90000"/>
            </a:lnSpc>
            <a:spcBef>
              <a:spcPct val="0"/>
            </a:spcBef>
            <a:spcAft>
              <a:spcPct val="20000"/>
            </a:spcAft>
            <a:buChar char="•"/>
          </a:pPr>
          <a:r>
            <a:rPr lang="en-US" sz="2300" kern="1200" baseline="0" dirty="0"/>
            <a:t>Smaller units of work require less memory and can be more accurately estimated</a:t>
          </a:r>
          <a:endParaRPr lang="en-US" sz="2300" kern="1200" dirty="0"/>
        </a:p>
        <a:p>
          <a:pPr marL="228600" lvl="1" indent="-228600" algn="l" defTabSz="1022350">
            <a:lnSpc>
              <a:spcPct val="90000"/>
            </a:lnSpc>
            <a:spcBef>
              <a:spcPct val="0"/>
            </a:spcBef>
            <a:spcAft>
              <a:spcPct val="20000"/>
            </a:spcAft>
            <a:buChar char="•"/>
          </a:pPr>
          <a:r>
            <a:rPr lang="en-US" sz="2300" kern="1200" baseline="0"/>
            <a:t>Smaller less complicated plans are easier to read and evaluate</a:t>
          </a:r>
          <a:endParaRPr lang="en-US" sz="2300" kern="1200"/>
        </a:p>
        <a:p>
          <a:pPr marL="228600" lvl="1" indent="-228600" algn="l" defTabSz="1022350">
            <a:lnSpc>
              <a:spcPct val="90000"/>
            </a:lnSpc>
            <a:spcBef>
              <a:spcPct val="0"/>
            </a:spcBef>
            <a:spcAft>
              <a:spcPct val="20000"/>
            </a:spcAft>
            <a:buChar char="•"/>
          </a:pPr>
          <a:r>
            <a:rPr lang="en-US" sz="2300" kern="1200" baseline="0"/>
            <a:t>Since views are essentially just query text that is inserted to the query inline, selecting from complex views would also be considered a “large” query</a:t>
          </a:r>
          <a:endParaRPr lang="en-US" sz="2300" kern="1200"/>
        </a:p>
      </dsp:txBody>
      <dsp:txXfrm>
        <a:off x="0" y="2445986"/>
        <a:ext cx="11098906" cy="242190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F10B6E-CFEE-4BC8-A60E-DBFD284D8A79}">
      <dsp:nvSpPr>
        <dsp:cNvPr id="0" name=""/>
        <dsp:cNvSpPr/>
      </dsp:nvSpPr>
      <dsp:spPr>
        <a:xfrm>
          <a:off x="0" y="12137"/>
          <a:ext cx="11098906" cy="7200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Queries with all these patterns typically run faster with ordered CCI.</a:t>
          </a:r>
          <a:endParaRPr lang="en-US" sz="2500" kern="1200"/>
        </a:p>
      </dsp:txBody>
      <dsp:txXfrm>
        <a:off x="0" y="12137"/>
        <a:ext cx="11098906" cy="720000"/>
      </dsp:txXfrm>
    </dsp:sp>
    <dsp:sp modelId="{38C66E7A-F90C-4FBF-A6CA-E6F4CF5BB55D}">
      <dsp:nvSpPr>
        <dsp:cNvPr id="0" name=""/>
        <dsp:cNvSpPr/>
      </dsp:nvSpPr>
      <dsp:spPr>
        <a:xfrm>
          <a:off x="0" y="732137"/>
          <a:ext cx="11098906" cy="199012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The queries have equality, inequality, or range predicates</a:t>
          </a:r>
          <a:endParaRPr lang="en-US" sz="2500" kern="1200"/>
        </a:p>
        <a:p>
          <a:pPr marL="228600" lvl="1" indent="-228600" algn="l" defTabSz="1111250">
            <a:lnSpc>
              <a:spcPct val="90000"/>
            </a:lnSpc>
            <a:spcBef>
              <a:spcPct val="0"/>
            </a:spcBef>
            <a:spcAft>
              <a:spcPct val="15000"/>
            </a:spcAft>
            <a:buChar char="•"/>
          </a:pPr>
          <a:r>
            <a:rPr lang="en-US" sz="2500" kern="1200" baseline="0"/>
            <a:t>The predicate columns and the ordered CCI columns are the same.</a:t>
          </a:r>
          <a:endParaRPr lang="en-US" sz="2500" kern="1200"/>
        </a:p>
        <a:p>
          <a:pPr marL="228600" lvl="1" indent="-228600" algn="l" defTabSz="1111250">
            <a:lnSpc>
              <a:spcPct val="90000"/>
            </a:lnSpc>
            <a:spcBef>
              <a:spcPct val="0"/>
            </a:spcBef>
            <a:spcAft>
              <a:spcPct val="15000"/>
            </a:spcAft>
            <a:buChar char="•"/>
          </a:pPr>
          <a:r>
            <a:rPr lang="en-US" sz="2500" kern="1200" baseline="0" dirty="0"/>
            <a:t>The predicate columns are used in the same order as the column ordinal of ordered CCI columns.</a:t>
          </a:r>
          <a:endParaRPr lang="en-US" sz="2500" kern="1200" dirty="0"/>
        </a:p>
      </dsp:txBody>
      <dsp:txXfrm>
        <a:off x="0" y="732137"/>
        <a:ext cx="11098906" cy="199012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D88F3F-885D-4FED-B718-9FA701A08DFF}">
      <dsp:nvSpPr>
        <dsp:cNvPr id="0" name=""/>
        <dsp:cNvSpPr/>
      </dsp:nvSpPr>
      <dsp:spPr>
        <a:xfrm>
          <a:off x="0" y="0"/>
          <a:ext cx="1169551" cy="1169551"/>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59B19CE-76D6-4D9A-9EAD-E0A76512F8E5}">
      <dsp:nvSpPr>
        <dsp:cNvPr id="0" name=""/>
        <dsp:cNvSpPr/>
      </dsp:nvSpPr>
      <dsp:spPr>
        <a:xfrm>
          <a:off x="584775" y="0"/>
          <a:ext cx="10514130" cy="1169551"/>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a:t>Ordered Columnstore Indexes reduce segment overlap to allow for fewer segments to be loaded into memory at query time</a:t>
          </a:r>
        </a:p>
      </dsp:txBody>
      <dsp:txXfrm>
        <a:off x="584775" y="0"/>
        <a:ext cx="10514130" cy="116955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AF0164-BE09-47FC-8DCB-E8A03D670404}">
      <dsp:nvSpPr>
        <dsp:cNvPr id="0" name=""/>
        <dsp:cNvSpPr/>
      </dsp:nvSpPr>
      <dsp:spPr>
        <a:xfrm>
          <a:off x="0" y="5099"/>
          <a:ext cx="11098906" cy="49018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Table distribution</a:t>
          </a:r>
          <a:endParaRPr lang="en-US" sz="2000" kern="1200" dirty="0"/>
        </a:p>
      </dsp:txBody>
      <dsp:txXfrm>
        <a:off x="23929" y="29028"/>
        <a:ext cx="11051048" cy="442331"/>
      </dsp:txXfrm>
    </dsp:sp>
    <dsp:sp modelId="{0676355C-A38C-4288-BE80-14EA590A2C3E}">
      <dsp:nvSpPr>
        <dsp:cNvPr id="0" name=""/>
        <dsp:cNvSpPr/>
      </dsp:nvSpPr>
      <dsp:spPr>
        <a:xfrm>
          <a:off x="0" y="495288"/>
          <a:ext cx="11098906" cy="3449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Improper table distribution could cause excess data movement at query time</a:t>
          </a:r>
          <a:endParaRPr lang="en-US" sz="2000" kern="1200" dirty="0"/>
        </a:p>
      </dsp:txBody>
      <dsp:txXfrm>
        <a:off x="0" y="495288"/>
        <a:ext cx="11098906" cy="344932"/>
      </dsp:txXfrm>
    </dsp:sp>
    <dsp:sp modelId="{4F7AD21D-136B-4076-AFD8-CC0C220BA5EC}">
      <dsp:nvSpPr>
        <dsp:cNvPr id="0" name=""/>
        <dsp:cNvSpPr/>
      </dsp:nvSpPr>
      <dsp:spPr>
        <a:xfrm>
          <a:off x="0" y="840220"/>
          <a:ext cx="11098906" cy="490189"/>
        </a:xfrm>
        <a:prstGeom prst="roundRect">
          <a:avLst/>
        </a:prstGeom>
        <a:solidFill>
          <a:schemeClr val="accent2">
            <a:hueOff val="-2412615"/>
            <a:satOff val="10894"/>
            <a:lumOff val="34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Index choice</a:t>
          </a:r>
          <a:endParaRPr lang="en-US" sz="2000" kern="1200"/>
        </a:p>
      </dsp:txBody>
      <dsp:txXfrm>
        <a:off x="23929" y="864149"/>
        <a:ext cx="11051048" cy="442331"/>
      </dsp:txXfrm>
    </dsp:sp>
    <dsp:sp modelId="{178B3421-29F9-47D6-9F6A-B7D140C9075F}">
      <dsp:nvSpPr>
        <dsp:cNvPr id="0" name=""/>
        <dsp:cNvSpPr/>
      </dsp:nvSpPr>
      <dsp:spPr>
        <a:xfrm>
          <a:off x="0" y="1330410"/>
          <a:ext cx="11098906" cy="709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Heaps are fastest to create, but in general columnstore indexes are fastest to query</a:t>
          </a:r>
          <a:endParaRPr lang="en-US" sz="2000" kern="1200" dirty="0"/>
        </a:p>
        <a:p>
          <a:pPr marL="228600" lvl="1" indent="-228600" algn="l" defTabSz="889000">
            <a:lnSpc>
              <a:spcPct val="90000"/>
            </a:lnSpc>
            <a:spcBef>
              <a:spcPct val="0"/>
            </a:spcBef>
            <a:spcAft>
              <a:spcPct val="20000"/>
            </a:spcAft>
            <a:buChar char="•"/>
          </a:pPr>
          <a:r>
            <a:rPr lang="en-US" sz="2000" kern="1200" baseline="0" dirty="0"/>
            <a:t>Clustered indexes shine when filtering on the index column</a:t>
          </a:r>
          <a:endParaRPr lang="en-US" sz="2000" kern="1200" dirty="0"/>
        </a:p>
      </dsp:txBody>
      <dsp:txXfrm>
        <a:off x="0" y="1330410"/>
        <a:ext cx="11098906" cy="709575"/>
      </dsp:txXfrm>
    </dsp:sp>
    <dsp:sp modelId="{20F7F18F-F7B6-4EDD-91C8-BF37AFAA3489}">
      <dsp:nvSpPr>
        <dsp:cNvPr id="0" name=""/>
        <dsp:cNvSpPr/>
      </dsp:nvSpPr>
      <dsp:spPr>
        <a:xfrm>
          <a:off x="0" y="2039985"/>
          <a:ext cx="11098906" cy="490189"/>
        </a:xfrm>
        <a:prstGeom prst="roundRect">
          <a:avLst/>
        </a:prstGeom>
        <a:solidFill>
          <a:schemeClr val="accent2">
            <a:hueOff val="-4825229"/>
            <a:satOff val="21788"/>
            <a:lumOff val="68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Index health (especially for CCI)</a:t>
          </a:r>
          <a:endParaRPr lang="en-US" sz="2000" kern="1200" dirty="0"/>
        </a:p>
      </dsp:txBody>
      <dsp:txXfrm>
        <a:off x="23929" y="2063914"/>
        <a:ext cx="11051048" cy="442331"/>
      </dsp:txXfrm>
    </dsp:sp>
    <dsp:sp modelId="{67149F6C-95EB-40CD-93C9-0E19FABF487F}">
      <dsp:nvSpPr>
        <dsp:cNvPr id="0" name=""/>
        <dsp:cNvSpPr/>
      </dsp:nvSpPr>
      <dsp:spPr>
        <a:xfrm>
          <a:off x="0" y="2530175"/>
          <a:ext cx="11098906" cy="3449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Poor segmentation can lead to excess memory requirements and poor compression</a:t>
          </a:r>
          <a:endParaRPr lang="en-US" sz="2000" kern="1200" dirty="0"/>
        </a:p>
      </dsp:txBody>
      <dsp:txXfrm>
        <a:off x="0" y="2530175"/>
        <a:ext cx="11098906" cy="344932"/>
      </dsp:txXfrm>
    </dsp:sp>
    <dsp:sp modelId="{D7FB9F35-2164-4B3D-9A38-ED01F1CF299D}">
      <dsp:nvSpPr>
        <dsp:cNvPr id="0" name=""/>
        <dsp:cNvSpPr/>
      </dsp:nvSpPr>
      <dsp:spPr>
        <a:xfrm>
          <a:off x="0" y="2875107"/>
          <a:ext cx="11098906" cy="490189"/>
        </a:xfrm>
        <a:prstGeom prst="roundRect">
          <a:avLst/>
        </a:prstGeom>
        <a:solidFill>
          <a:schemeClr val="accent2">
            <a:hueOff val="-7237844"/>
            <a:satOff val="32683"/>
            <a:lumOff val="1023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Materialized views</a:t>
          </a:r>
          <a:endParaRPr lang="en-US" sz="2000" kern="1200" dirty="0"/>
        </a:p>
      </dsp:txBody>
      <dsp:txXfrm>
        <a:off x="23929" y="2899036"/>
        <a:ext cx="11051048" cy="442331"/>
      </dsp:txXfrm>
    </dsp:sp>
    <dsp:sp modelId="{89E4E2D5-6D0F-4A57-9F2B-3F73FF079F9F}">
      <dsp:nvSpPr>
        <dsp:cNvPr id="0" name=""/>
        <dsp:cNvSpPr/>
      </dsp:nvSpPr>
      <dsp:spPr>
        <a:xfrm>
          <a:off x="0" y="3365297"/>
          <a:ext cx="11098906" cy="709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t>Used to pre-calculate aggregations</a:t>
          </a:r>
          <a:endParaRPr lang="en-US" sz="2000" kern="1200"/>
        </a:p>
        <a:p>
          <a:pPr marL="228600" lvl="1" indent="-228600" algn="l" defTabSz="889000">
            <a:lnSpc>
              <a:spcPct val="90000"/>
            </a:lnSpc>
            <a:spcBef>
              <a:spcPct val="0"/>
            </a:spcBef>
            <a:spcAft>
              <a:spcPct val="20000"/>
            </a:spcAft>
            <a:buChar char="•"/>
          </a:pPr>
          <a:r>
            <a:rPr lang="en-US" sz="2000" kern="1200" baseline="0" dirty="0"/>
            <a:t>EXPLAIN WITH_RECOMMENDATIONS to view suggested materialized views</a:t>
          </a:r>
          <a:endParaRPr lang="en-US" sz="2000" kern="1200" dirty="0"/>
        </a:p>
      </dsp:txBody>
      <dsp:txXfrm>
        <a:off x="0" y="3365297"/>
        <a:ext cx="11098906" cy="709575"/>
      </dsp:txXfrm>
    </dsp:sp>
    <dsp:sp modelId="{C52E95B4-8BF4-4917-B9BA-EDB172D2EDFD}">
      <dsp:nvSpPr>
        <dsp:cNvPr id="0" name=""/>
        <dsp:cNvSpPr/>
      </dsp:nvSpPr>
      <dsp:spPr>
        <a:xfrm>
          <a:off x="0" y="4074872"/>
          <a:ext cx="11098906" cy="490189"/>
        </a:xfrm>
        <a:prstGeom prst="roundRect">
          <a:avLst/>
        </a:prstGeom>
        <a:solidFill>
          <a:schemeClr val="accent2">
            <a:hueOff val="-9650458"/>
            <a:satOff val="43577"/>
            <a:lumOff val="1364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Hints</a:t>
          </a:r>
          <a:endParaRPr lang="en-US" sz="2000" kern="1200"/>
        </a:p>
      </dsp:txBody>
      <dsp:txXfrm>
        <a:off x="23929" y="4098801"/>
        <a:ext cx="11051048" cy="442331"/>
      </dsp:txXfrm>
    </dsp:sp>
    <dsp:sp modelId="{9DC4EC7A-FC3F-4E99-8F69-36D5CD24143C}">
      <dsp:nvSpPr>
        <dsp:cNvPr id="0" name=""/>
        <dsp:cNvSpPr/>
      </dsp:nvSpPr>
      <dsp:spPr>
        <a:xfrm>
          <a:off x="0" y="4565061"/>
          <a:ext cx="11098906" cy="6307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If a query is much slower than expected, FORCE ORDER may provide immediate performance gains</a:t>
          </a:r>
          <a:endParaRPr lang="en-US" sz="2000" kern="1200" dirty="0"/>
        </a:p>
      </dsp:txBody>
      <dsp:txXfrm>
        <a:off x="0" y="4565061"/>
        <a:ext cx="11098906" cy="630733"/>
      </dsp:txXfrm>
    </dsp:sp>
    <dsp:sp modelId="{6E9E58BD-EA9E-4AE9-94EA-B3C253754A25}">
      <dsp:nvSpPr>
        <dsp:cNvPr id="0" name=""/>
        <dsp:cNvSpPr/>
      </dsp:nvSpPr>
      <dsp:spPr>
        <a:xfrm>
          <a:off x="0" y="5195795"/>
          <a:ext cx="11098906" cy="490189"/>
        </a:xfrm>
        <a:prstGeom prst="round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Workload Group allocation</a:t>
          </a:r>
          <a:endParaRPr lang="en-US" sz="2000" kern="1200" dirty="0"/>
        </a:p>
      </dsp:txBody>
      <dsp:txXfrm>
        <a:off x="23929" y="5219724"/>
        <a:ext cx="11051048" cy="442331"/>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81" cy="3020577"/>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US" sz="1700" kern="1200" dirty="0"/>
            <a:t>Which resource is managed with Workload Groups?</a:t>
          </a:r>
        </a:p>
        <a:p>
          <a:pPr marL="0" lvl="0" indent="0" algn="ctr" defTabSz="755650">
            <a:lnSpc>
              <a:spcPct val="90000"/>
            </a:lnSpc>
            <a:spcBef>
              <a:spcPct val="0"/>
            </a:spcBef>
            <a:spcAft>
              <a:spcPct val="35000"/>
            </a:spcAft>
            <a:buNone/>
          </a:pPr>
          <a:r>
            <a:rPr lang="en-US" sz="1700" kern="1200" dirty="0"/>
            <a:t>CPU / Memory / IO / TempDB</a:t>
          </a:r>
        </a:p>
      </dsp:txBody>
      <dsp:txXfrm>
        <a:off x="0" y="1208231"/>
        <a:ext cx="3100581" cy="1208231"/>
      </dsp:txXfrm>
    </dsp:sp>
    <dsp:sp modelId="{41B5F4A1-82D4-4720-8B78-273D2F9A3449}">
      <dsp:nvSpPr>
        <dsp:cNvPr id="0" name=""/>
        <dsp:cNvSpPr/>
      </dsp:nvSpPr>
      <dsp:spPr>
        <a:xfrm>
          <a:off x="1047364" y="181234"/>
          <a:ext cx="1005852" cy="1005852"/>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2416462"/>
          <a:ext cx="2852534" cy="453086"/>
        </a:xfrm>
        <a:prstGeom prst="leftRightArrow">
          <a:avLst/>
        </a:prstGeom>
        <a:solidFill>
          <a:schemeClr val="accent4">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79" cy="302057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t>What is a potential cause of high TempDB utilization?</a:t>
          </a:r>
        </a:p>
      </dsp:txBody>
      <dsp:txXfrm>
        <a:off x="0" y="1208231"/>
        <a:ext cx="3100579" cy="1208231"/>
      </dsp:txXfrm>
    </dsp:sp>
    <dsp:sp modelId="{41B5F4A1-82D4-4720-8B78-273D2F9A3449}">
      <dsp:nvSpPr>
        <dsp:cNvPr id="0" name=""/>
        <dsp:cNvSpPr/>
      </dsp:nvSpPr>
      <dsp:spPr>
        <a:xfrm>
          <a:off x="1047363" y="181234"/>
          <a:ext cx="1005852" cy="1005852"/>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2416462"/>
          <a:ext cx="2852532" cy="453086"/>
        </a:xfrm>
        <a:prstGeom prst="leftRight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79" cy="3020577"/>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baseline="0" dirty="0"/>
            <a:t>Which table, type is fastest to load?</a:t>
          </a:r>
        </a:p>
        <a:p>
          <a:pPr marL="0" lvl="0" indent="0" algn="ctr" defTabSz="800100">
            <a:lnSpc>
              <a:spcPct val="90000"/>
            </a:lnSpc>
            <a:spcBef>
              <a:spcPct val="0"/>
            </a:spcBef>
            <a:spcAft>
              <a:spcPct val="35000"/>
            </a:spcAft>
            <a:buNone/>
          </a:pPr>
          <a:r>
            <a:rPr lang="en-US" sz="1800" kern="1200" baseline="0" dirty="0"/>
            <a:t>Heap / CCI</a:t>
          </a:r>
          <a:endParaRPr lang="en-US" sz="1800" kern="1200" dirty="0"/>
        </a:p>
      </dsp:txBody>
      <dsp:txXfrm>
        <a:off x="0" y="1208231"/>
        <a:ext cx="3100579" cy="1208231"/>
      </dsp:txXfrm>
    </dsp:sp>
    <dsp:sp modelId="{41B5F4A1-82D4-4720-8B78-273D2F9A3449}">
      <dsp:nvSpPr>
        <dsp:cNvPr id="0" name=""/>
        <dsp:cNvSpPr/>
      </dsp:nvSpPr>
      <dsp:spPr>
        <a:xfrm>
          <a:off x="1047363" y="181234"/>
          <a:ext cx="1005852" cy="1005852"/>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2416462"/>
          <a:ext cx="2852532" cy="453086"/>
        </a:xfrm>
        <a:prstGeom prst="leftRightArrow">
          <a:avLst/>
        </a:prstGeom>
        <a:solidFill>
          <a:schemeClr val="accent5">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79" cy="3020577"/>
        </a:xfrm>
        <a:prstGeom prst="roundRect">
          <a:avLst>
            <a:gd name="adj" fmla="val 10000"/>
          </a:avLst>
        </a:prstGeom>
        <a:solidFill>
          <a:schemeClr val="accent3">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baseline="0" dirty="0"/>
            <a:t>Which table, type is fastest to query?</a:t>
          </a:r>
        </a:p>
        <a:p>
          <a:pPr marL="0" lvl="0" indent="0" algn="ctr" defTabSz="800100">
            <a:lnSpc>
              <a:spcPct val="90000"/>
            </a:lnSpc>
            <a:spcBef>
              <a:spcPct val="0"/>
            </a:spcBef>
            <a:spcAft>
              <a:spcPct val="35000"/>
            </a:spcAft>
            <a:buNone/>
          </a:pPr>
          <a:r>
            <a:rPr lang="en-US" sz="1800" kern="1200" baseline="0" dirty="0"/>
            <a:t>Heap / CCI</a:t>
          </a:r>
          <a:endParaRPr lang="en-US" sz="1800" kern="1200" dirty="0"/>
        </a:p>
      </dsp:txBody>
      <dsp:txXfrm>
        <a:off x="0" y="1208231"/>
        <a:ext cx="3100579" cy="1208231"/>
      </dsp:txXfrm>
    </dsp:sp>
    <dsp:sp modelId="{41B5F4A1-82D4-4720-8B78-273D2F9A3449}">
      <dsp:nvSpPr>
        <dsp:cNvPr id="0" name=""/>
        <dsp:cNvSpPr/>
      </dsp:nvSpPr>
      <dsp:spPr>
        <a:xfrm>
          <a:off x="1047363" y="181234"/>
          <a:ext cx="1005852" cy="1005852"/>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2416462"/>
          <a:ext cx="2852532" cy="453086"/>
        </a:xfrm>
        <a:prstGeom prst="leftRightArrow">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84CA7-AD12-4081-916F-C9A3873AA432}">
      <dsp:nvSpPr>
        <dsp:cNvPr id="0" name=""/>
        <dsp:cNvSpPr/>
      </dsp:nvSpPr>
      <dsp:spPr>
        <a:xfrm>
          <a:off x="0" y="0"/>
          <a:ext cx="3100581" cy="3020577"/>
        </a:xfrm>
        <a:prstGeom prst="roundRect">
          <a:avLst>
            <a:gd name="adj" fmla="val 10000"/>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baseline="0" dirty="0"/>
            <a:t>Why are #Temp tables faster than regular tables?</a:t>
          </a:r>
          <a:endParaRPr lang="en-US" sz="2000" kern="1200" dirty="0"/>
        </a:p>
      </dsp:txBody>
      <dsp:txXfrm>
        <a:off x="0" y="1208231"/>
        <a:ext cx="3100581" cy="1208231"/>
      </dsp:txXfrm>
    </dsp:sp>
    <dsp:sp modelId="{41B5F4A1-82D4-4720-8B78-273D2F9A3449}">
      <dsp:nvSpPr>
        <dsp:cNvPr id="0" name=""/>
        <dsp:cNvSpPr/>
      </dsp:nvSpPr>
      <dsp:spPr>
        <a:xfrm>
          <a:off x="1047364" y="181234"/>
          <a:ext cx="1005852" cy="1005852"/>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7AAEA-F712-4908-BFFD-EF5C7957D50C}">
      <dsp:nvSpPr>
        <dsp:cNvPr id="0" name=""/>
        <dsp:cNvSpPr/>
      </dsp:nvSpPr>
      <dsp:spPr>
        <a:xfrm>
          <a:off x="124023" y="2416462"/>
          <a:ext cx="2852534" cy="453086"/>
        </a:xfrm>
        <a:prstGeom prst="leftRight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F9AE46-4FFA-4279-A04A-4273ADB97192}">
      <dsp:nvSpPr>
        <dsp:cNvPr id="0" name=""/>
        <dsp:cNvSpPr/>
      </dsp:nvSpPr>
      <dsp:spPr>
        <a:xfrm>
          <a:off x="0" y="23478"/>
          <a:ext cx="11098906" cy="861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baseline="0" dirty="0"/>
            <a:t>High CPU Utilization</a:t>
          </a:r>
          <a:endParaRPr lang="en-US" sz="3200" kern="1200" dirty="0"/>
        </a:p>
      </dsp:txBody>
      <dsp:txXfrm>
        <a:off x="42036" y="65514"/>
        <a:ext cx="11014834" cy="777048"/>
      </dsp:txXfrm>
    </dsp:sp>
    <dsp:sp modelId="{AA76FD53-F180-420E-9C3E-4B190F876AAF}">
      <dsp:nvSpPr>
        <dsp:cNvPr id="0" name=""/>
        <dsp:cNvSpPr/>
      </dsp:nvSpPr>
      <dsp:spPr>
        <a:xfrm>
          <a:off x="0" y="884598"/>
          <a:ext cx="11098906" cy="761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Heavy query step execution</a:t>
          </a:r>
          <a:endParaRPr lang="en-US" sz="2000" kern="1200" dirty="0"/>
        </a:p>
        <a:p>
          <a:pPr marL="228600" lvl="1" indent="-228600" algn="l" defTabSz="889000">
            <a:lnSpc>
              <a:spcPct val="90000"/>
            </a:lnSpc>
            <a:spcBef>
              <a:spcPct val="0"/>
            </a:spcBef>
            <a:spcAft>
              <a:spcPct val="20000"/>
            </a:spcAft>
            <a:buChar char="•"/>
          </a:pPr>
          <a:r>
            <a:rPr lang="en-US" sz="2000" kern="1200" dirty="0"/>
            <a:t>Check CPU-intensive operations , CASE statements, data type conversions</a:t>
          </a:r>
        </a:p>
      </dsp:txBody>
      <dsp:txXfrm>
        <a:off x="0" y="884598"/>
        <a:ext cx="11098906" cy="761760"/>
      </dsp:txXfrm>
    </dsp:sp>
    <dsp:sp modelId="{C02E8E93-B9AC-48AA-B3F3-689B88FF7A86}">
      <dsp:nvSpPr>
        <dsp:cNvPr id="0" name=""/>
        <dsp:cNvSpPr/>
      </dsp:nvSpPr>
      <dsp:spPr>
        <a:xfrm>
          <a:off x="0" y="1646358"/>
          <a:ext cx="11098906" cy="861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baseline="0" dirty="0"/>
            <a:t>TempDB</a:t>
          </a:r>
          <a:endParaRPr lang="en-US" sz="3200" kern="1200" dirty="0"/>
        </a:p>
      </dsp:txBody>
      <dsp:txXfrm>
        <a:off x="42036" y="1688394"/>
        <a:ext cx="11014834" cy="777048"/>
      </dsp:txXfrm>
    </dsp:sp>
    <dsp:sp modelId="{F7897512-1DB9-47A5-B520-3298989570A6}">
      <dsp:nvSpPr>
        <dsp:cNvPr id="0" name=""/>
        <dsp:cNvSpPr/>
      </dsp:nvSpPr>
      <dsp:spPr>
        <a:xfrm>
          <a:off x="0" y="2507478"/>
          <a:ext cx="11098906" cy="761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Large data movement</a:t>
          </a:r>
          <a:endParaRPr lang="en-US" sz="2000" kern="1200" dirty="0"/>
        </a:p>
        <a:p>
          <a:pPr marL="228600" lvl="1" indent="-228600" algn="l" defTabSz="889000">
            <a:lnSpc>
              <a:spcPct val="90000"/>
            </a:lnSpc>
            <a:spcBef>
              <a:spcPct val="0"/>
            </a:spcBef>
            <a:spcAft>
              <a:spcPct val="20000"/>
            </a:spcAft>
            <a:buChar char="•"/>
          </a:pPr>
          <a:r>
            <a:rPr lang="en-US" sz="2000" kern="1200" dirty="0"/>
            <a:t>A large broadcast is more impactful than a large shuffle</a:t>
          </a:r>
        </a:p>
      </dsp:txBody>
      <dsp:txXfrm>
        <a:off x="0" y="2507478"/>
        <a:ext cx="11098906" cy="761760"/>
      </dsp:txXfrm>
    </dsp:sp>
    <dsp:sp modelId="{A2025374-3A7D-49BF-B179-1AB224BB6288}">
      <dsp:nvSpPr>
        <dsp:cNvPr id="0" name=""/>
        <dsp:cNvSpPr/>
      </dsp:nvSpPr>
      <dsp:spPr>
        <a:xfrm>
          <a:off x="0" y="3269238"/>
          <a:ext cx="11098906" cy="861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baseline="0" dirty="0"/>
            <a:t>Queued Queries</a:t>
          </a:r>
          <a:endParaRPr lang="en-US" sz="3200" kern="1200" dirty="0"/>
        </a:p>
      </dsp:txBody>
      <dsp:txXfrm>
        <a:off x="42036" y="3311274"/>
        <a:ext cx="11014834" cy="777048"/>
      </dsp:txXfrm>
    </dsp:sp>
    <dsp:sp modelId="{417DA507-04BB-4011-8610-49C9FABD932B}">
      <dsp:nvSpPr>
        <dsp:cNvPr id="0" name=""/>
        <dsp:cNvSpPr/>
      </dsp:nvSpPr>
      <dsp:spPr>
        <a:xfrm>
          <a:off x="0" y="4130358"/>
          <a:ext cx="11098906" cy="761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Concurrency</a:t>
          </a:r>
          <a:endParaRPr lang="en-US" sz="2000" kern="1200" dirty="0"/>
        </a:p>
        <a:p>
          <a:pPr marL="228600" lvl="1" indent="-228600" algn="l" defTabSz="889000">
            <a:lnSpc>
              <a:spcPct val="90000"/>
            </a:lnSpc>
            <a:spcBef>
              <a:spcPct val="0"/>
            </a:spcBef>
            <a:spcAft>
              <a:spcPct val="20000"/>
            </a:spcAft>
            <a:buChar char="•"/>
          </a:pPr>
          <a:r>
            <a:rPr lang="en-US" sz="2000" kern="1200" baseline="0" dirty="0"/>
            <a:t>Can be impacted by shortage of other resources</a:t>
          </a:r>
          <a:endParaRPr lang="en-US" sz="2000" kern="1200" dirty="0"/>
        </a:p>
      </dsp:txBody>
      <dsp:txXfrm>
        <a:off x="0" y="4130358"/>
        <a:ext cx="11098906" cy="7617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AAF234-933E-4F9A-93C9-ADC1061D8382}">
      <dsp:nvSpPr>
        <dsp:cNvPr id="0" name=""/>
        <dsp:cNvSpPr/>
      </dsp:nvSpPr>
      <dsp:spPr>
        <a:xfrm rot="5400000">
          <a:off x="6661828" y="-2444808"/>
          <a:ext cx="1770857" cy="710330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baseline="0" dirty="0"/>
            <a:t>Check queue/plan generation time</a:t>
          </a:r>
          <a:endParaRPr lang="en-US" sz="2200" kern="1200" dirty="0"/>
        </a:p>
        <a:p>
          <a:pPr marL="228600" lvl="1" indent="-228600" algn="l" defTabSz="977900">
            <a:lnSpc>
              <a:spcPct val="90000"/>
            </a:lnSpc>
            <a:spcBef>
              <a:spcPct val="0"/>
            </a:spcBef>
            <a:spcAft>
              <a:spcPct val="15000"/>
            </a:spcAft>
            <a:buChar char="•"/>
          </a:pPr>
          <a:r>
            <a:rPr lang="en-US" sz="2200" kern="1200" baseline="0" dirty="0"/>
            <a:t>Not always a useful metric: </a:t>
          </a:r>
          <a:endParaRPr lang="en-US" sz="2200" kern="1200" dirty="0"/>
        </a:p>
        <a:p>
          <a:pPr marL="457200" lvl="2" indent="-228600" algn="l" defTabSz="889000">
            <a:lnSpc>
              <a:spcPct val="90000"/>
            </a:lnSpc>
            <a:spcBef>
              <a:spcPct val="0"/>
            </a:spcBef>
            <a:spcAft>
              <a:spcPct val="15000"/>
            </a:spcAft>
            <a:buChar char="•"/>
          </a:pPr>
          <a:r>
            <a:rPr lang="en-US" sz="2000" kern="1200" baseline="0" dirty="0"/>
            <a:t>Batches</a:t>
          </a:r>
          <a:endParaRPr lang="en-US" sz="2000" kern="1200" dirty="0"/>
        </a:p>
        <a:p>
          <a:pPr marL="457200" lvl="2" indent="-228600" algn="l" defTabSz="889000">
            <a:lnSpc>
              <a:spcPct val="90000"/>
            </a:lnSpc>
            <a:spcBef>
              <a:spcPct val="0"/>
            </a:spcBef>
            <a:spcAft>
              <a:spcPct val="15000"/>
            </a:spcAft>
            <a:buChar char="•"/>
          </a:pPr>
          <a:r>
            <a:rPr lang="en-US" sz="2000" kern="1200" baseline="0" dirty="0"/>
            <a:t>Multi-step plans</a:t>
          </a:r>
          <a:endParaRPr lang="en-US" sz="2000" kern="1200" dirty="0"/>
        </a:p>
      </dsp:txBody>
      <dsp:txXfrm rot="-5400000">
        <a:off x="3995607" y="307859"/>
        <a:ext cx="7016854" cy="1597965"/>
      </dsp:txXfrm>
    </dsp:sp>
    <dsp:sp modelId="{4B88EED4-8325-4BD4-9BEE-E7C58427A780}">
      <dsp:nvSpPr>
        <dsp:cNvPr id="0" name=""/>
        <dsp:cNvSpPr/>
      </dsp:nvSpPr>
      <dsp:spPr>
        <a:xfrm>
          <a:off x="0" y="55"/>
          <a:ext cx="3995606" cy="22135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baseline="0" dirty="0"/>
            <a:t>Overall query execution time</a:t>
          </a:r>
          <a:endParaRPr lang="en-US" sz="3200" kern="1200" dirty="0"/>
        </a:p>
      </dsp:txBody>
      <dsp:txXfrm>
        <a:off x="108058" y="108113"/>
        <a:ext cx="3779490" cy="1997455"/>
      </dsp:txXfrm>
    </dsp:sp>
    <dsp:sp modelId="{90245D2F-FB4B-4999-ACDD-A7D8C442B3FC}">
      <dsp:nvSpPr>
        <dsp:cNvPr id="0" name=""/>
        <dsp:cNvSpPr/>
      </dsp:nvSpPr>
      <dsp:spPr>
        <a:xfrm rot="5400000">
          <a:off x="6661828" y="-120558"/>
          <a:ext cx="1770857" cy="710330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Usually, the more relevant metric vs query execution time</a:t>
          </a:r>
        </a:p>
        <a:p>
          <a:pPr marL="228600" lvl="1" indent="-228600" algn="l" defTabSz="977900">
            <a:lnSpc>
              <a:spcPct val="90000"/>
            </a:lnSpc>
            <a:spcBef>
              <a:spcPct val="0"/>
            </a:spcBef>
            <a:spcAft>
              <a:spcPct val="15000"/>
            </a:spcAft>
            <a:buChar char="•"/>
          </a:pPr>
          <a:r>
            <a:rPr lang="en-US" sz="2200" kern="1200" baseline="0" dirty="0"/>
            <a:t>Data movement Steps</a:t>
          </a:r>
          <a:endParaRPr lang="en-US" sz="2200" kern="1200" dirty="0"/>
        </a:p>
        <a:p>
          <a:pPr marL="228600" lvl="1" indent="-228600" algn="l" defTabSz="977900">
            <a:lnSpc>
              <a:spcPct val="90000"/>
            </a:lnSpc>
            <a:spcBef>
              <a:spcPct val="0"/>
            </a:spcBef>
            <a:spcAft>
              <a:spcPct val="15000"/>
            </a:spcAft>
            <a:buChar char="•"/>
          </a:pPr>
          <a:r>
            <a:rPr lang="en-US" sz="2200" kern="1200" baseline="0" dirty="0"/>
            <a:t>Return operations</a:t>
          </a:r>
          <a:endParaRPr lang="en-US" sz="2200" kern="1200" dirty="0"/>
        </a:p>
      </dsp:txBody>
      <dsp:txXfrm rot="-5400000">
        <a:off x="3995607" y="2632109"/>
        <a:ext cx="7016854" cy="1597965"/>
      </dsp:txXfrm>
    </dsp:sp>
    <dsp:sp modelId="{366B9026-5AA1-4592-ABD1-4208CF192D92}">
      <dsp:nvSpPr>
        <dsp:cNvPr id="0" name=""/>
        <dsp:cNvSpPr/>
      </dsp:nvSpPr>
      <dsp:spPr>
        <a:xfrm>
          <a:off x="0" y="2324305"/>
          <a:ext cx="3995606" cy="22135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baseline="0" dirty="0"/>
            <a:t>Step execution</a:t>
          </a:r>
          <a:endParaRPr lang="en-US" sz="3200" kern="1200" dirty="0"/>
        </a:p>
      </dsp:txBody>
      <dsp:txXfrm>
        <a:off x="108058" y="2432363"/>
        <a:ext cx="3779490" cy="199745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0E6551-4ABE-456C-84A9-B2D137EABBD4}">
      <dsp:nvSpPr>
        <dsp:cNvPr id="0" name=""/>
        <dsp:cNvSpPr/>
      </dsp:nvSpPr>
      <dsp:spPr>
        <a:xfrm rot="5400000">
          <a:off x="7001588" y="-2769683"/>
          <a:ext cx="1091336" cy="710330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dirty="0"/>
            <a:t>Azure Metrics </a:t>
          </a:r>
          <a:endParaRPr lang="en-US" sz="2000" kern="1200" dirty="0"/>
        </a:p>
        <a:p>
          <a:pPr marL="228600" lvl="1" indent="-228600" algn="l" defTabSz="889000">
            <a:lnSpc>
              <a:spcPct val="90000"/>
            </a:lnSpc>
            <a:spcBef>
              <a:spcPct val="0"/>
            </a:spcBef>
            <a:spcAft>
              <a:spcPct val="15000"/>
            </a:spcAft>
            <a:buChar char="•"/>
          </a:pPr>
          <a:r>
            <a:rPr lang="en-US" sz="2000" kern="1200" baseline="0" dirty="0"/>
            <a:t>DMV queries</a:t>
          </a:r>
          <a:endParaRPr lang="en-US" sz="2000" kern="1200" dirty="0"/>
        </a:p>
      </dsp:txBody>
      <dsp:txXfrm rot="-5400000">
        <a:off x="3995607" y="289573"/>
        <a:ext cx="7050025" cy="984786"/>
      </dsp:txXfrm>
    </dsp:sp>
    <dsp:sp modelId="{9482ED10-84F3-49A8-AD07-9F982F6854BE}">
      <dsp:nvSpPr>
        <dsp:cNvPr id="0" name=""/>
        <dsp:cNvSpPr/>
      </dsp:nvSpPr>
      <dsp:spPr>
        <a:xfrm>
          <a:off x="0" y="404"/>
          <a:ext cx="3995606" cy="156312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baseline="0" dirty="0"/>
            <a:t>Concurrency slots</a:t>
          </a:r>
          <a:r>
            <a:rPr lang="en-US" sz="4600" kern="1200" baseline="0" dirty="0"/>
            <a:t>: </a:t>
          </a:r>
          <a:endParaRPr lang="en-US" sz="4600" kern="1200" dirty="0"/>
        </a:p>
      </dsp:txBody>
      <dsp:txXfrm>
        <a:off x="76306" y="76710"/>
        <a:ext cx="3842994" cy="1410514"/>
      </dsp:txXfrm>
    </dsp:sp>
    <dsp:sp modelId="{39623C17-8F35-444E-BE08-C98187EC7DC7}">
      <dsp:nvSpPr>
        <dsp:cNvPr id="0" name=""/>
        <dsp:cNvSpPr/>
      </dsp:nvSpPr>
      <dsp:spPr>
        <a:xfrm rot="5400000">
          <a:off x="6479328" y="-519719"/>
          <a:ext cx="2135855" cy="710330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dirty="0"/>
            <a:t>Query lock hierarchy</a:t>
          </a:r>
          <a:endParaRPr lang="en-US" sz="2000" kern="1200" dirty="0"/>
        </a:p>
        <a:p>
          <a:pPr marL="228600" lvl="1" indent="-228600" algn="l" defTabSz="889000">
            <a:lnSpc>
              <a:spcPct val="90000"/>
            </a:lnSpc>
            <a:spcBef>
              <a:spcPct val="0"/>
            </a:spcBef>
            <a:spcAft>
              <a:spcPct val="15000"/>
            </a:spcAft>
            <a:buChar char="•"/>
          </a:pPr>
          <a:r>
            <a:rPr lang="en-US" sz="2000" kern="1200" baseline="0" dirty="0"/>
            <a:t>Look for a queued lock, then compare to all other locks on the same objects</a:t>
          </a:r>
          <a:endParaRPr lang="en-US" sz="2000" kern="1200" dirty="0"/>
        </a:p>
        <a:p>
          <a:pPr marL="228600" lvl="1" indent="-228600" algn="l" defTabSz="889000">
            <a:lnSpc>
              <a:spcPct val="90000"/>
            </a:lnSpc>
            <a:spcBef>
              <a:spcPct val="0"/>
            </a:spcBef>
            <a:spcAft>
              <a:spcPct val="15000"/>
            </a:spcAft>
            <a:buChar char="•"/>
          </a:pPr>
          <a:r>
            <a:rPr lang="en-US" sz="2000" kern="1200" baseline="0" dirty="0"/>
            <a:t>Look out especially for Exclusive locks</a:t>
          </a:r>
          <a:endParaRPr lang="en-US" sz="2000" kern="1200" dirty="0"/>
        </a:p>
        <a:p>
          <a:pPr marL="228600" lvl="1" indent="-228600" algn="l" defTabSz="889000">
            <a:lnSpc>
              <a:spcPct val="90000"/>
            </a:lnSpc>
            <a:spcBef>
              <a:spcPct val="0"/>
            </a:spcBef>
            <a:spcAft>
              <a:spcPct val="15000"/>
            </a:spcAft>
            <a:buChar char="•"/>
          </a:pPr>
          <a:r>
            <a:rPr lang="en-US" sz="2000" kern="1200" baseline="0" dirty="0"/>
            <a:t>USUALLY, the most granular lock in the hierarchy is the one that’s blocked</a:t>
          </a:r>
          <a:endParaRPr lang="en-US" sz="2000" kern="1200" dirty="0"/>
        </a:p>
      </dsp:txBody>
      <dsp:txXfrm rot="-5400000">
        <a:off x="3995606" y="2068267"/>
        <a:ext cx="6999036" cy="1927327"/>
      </dsp:txXfrm>
    </dsp:sp>
    <dsp:sp modelId="{58634ADF-2998-4314-8A9E-F5E00DC5FA7F}">
      <dsp:nvSpPr>
        <dsp:cNvPr id="0" name=""/>
        <dsp:cNvSpPr/>
      </dsp:nvSpPr>
      <dsp:spPr>
        <a:xfrm>
          <a:off x="0" y="1697021"/>
          <a:ext cx="3995606" cy="26698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baseline="0" dirty="0"/>
            <a:t>Object-level locking</a:t>
          </a:r>
          <a:endParaRPr lang="en-US" sz="3200" kern="1200" dirty="0"/>
        </a:p>
      </dsp:txBody>
      <dsp:txXfrm>
        <a:off x="130330" y="1827351"/>
        <a:ext cx="3734946" cy="240915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3EF1EB-49C6-4D25-9D27-18568056A959}">
      <dsp:nvSpPr>
        <dsp:cNvPr id="0" name=""/>
        <dsp:cNvSpPr/>
      </dsp:nvSpPr>
      <dsp:spPr>
        <a:xfrm>
          <a:off x="0" y="0"/>
          <a:ext cx="738664" cy="738664"/>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7792F1-F4F8-4ABC-9F50-0FB0A46BDFB2}">
      <dsp:nvSpPr>
        <dsp:cNvPr id="0" name=""/>
        <dsp:cNvSpPr/>
      </dsp:nvSpPr>
      <dsp:spPr>
        <a:xfrm>
          <a:off x="369331" y="0"/>
          <a:ext cx="10923452" cy="738664"/>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dirty="0"/>
            <a:t>NOTE: </a:t>
          </a:r>
          <a:r>
            <a:rPr lang="en-US" sz="1900" b="1" kern="1200" dirty="0" err="1"/>
            <a:t>Sys.dm_pdw_dms_workers</a:t>
          </a:r>
          <a:r>
            <a:rPr lang="en-US" sz="1900" b="1" kern="1200" dirty="0"/>
            <a:t> is a very large, expensive DMV that may take up to a few minutes to return on a very busy system</a:t>
          </a:r>
        </a:p>
      </dsp:txBody>
      <dsp:txXfrm>
        <a:off x="369331" y="0"/>
        <a:ext cx="10923452" cy="73866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C13B8A-334C-42A4-B6B0-A99026DF2A8A}">
      <dsp:nvSpPr>
        <dsp:cNvPr id="0" name=""/>
        <dsp:cNvSpPr/>
      </dsp:nvSpPr>
      <dsp:spPr>
        <a:xfrm>
          <a:off x="0" y="322560"/>
          <a:ext cx="11098906" cy="5920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Identify the largest currently executing data movement by rows processed</a:t>
          </a:r>
          <a:endParaRPr lang="en-US" sz="2300" kern="1200" dirty="0"/>
        </a:p>
      </dsp:txBody>
      <dsp:txXfrm>
        <a:off x="28900" y="351460"/>
        <a:ext cx="11041106" cy="534220"/>
      </dsp:txXfrm>
    </dsp:sp>
    <dsp:sp modelId="{39E3DCFB-E1FB-4F90-BE39-8EF689FB607E}">
      <dsp:nvSpPr>
        <dsp:cNvPr id="0" name=""/>
        <dsp:cNvSpPr/>
      </dsp:nvSpPr>
      <dsp:spPr>
        <a:xfrm>
          <a:off x="0" y="980820"/>
          <a:ext cx="11098906" cy="5920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a:t>Large broadcast moves are commonly the “largest” operation</a:t>
          </a:r>
          <a:endParaRPr lang="en-US" sz="2300" kern="1200"/>
        </a:p>
      </dsp:txBody>
      <dsp:txXfrm>
        <a:off x="28900" y="1009720"/>
        <a:ext cx="11041106" cy="534220"/>
      </dsp:txXfrm>
    </dsp:sp>
    <dsp:sp modelId="{26555F72-3021-40A7-8926-3D3898F027B0}">
      <dsp:nvSpPr>
        <dsp:cNvPr id="0" name=""/>
        <dsp:cNvSpPr/>
      </dsp:nvSpPr>
      <dsp:spPr>
        <a:xfrm>
          <a:off x="0" y="1572840"/>
          <a:ext cx="11098906" cy="12854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a:t>Broadcast moves take the results of a step and stores it in a replicated table</a:t>
          </a:r>
          <a:endParaRPr lang="en-US" sz="1800" kern="1200"/>
        </a:p>
        <a:p>
          <a:pPr marL="171450" lvl="1" indent="-171450" algn="l" defTabSz="800100">
            <a:lnSpc>
              <a:spcPct val="90000"/>
            </a:lnSpc>
            <a:spcBef>
              <a:spcPct val="0"/>
            </a:spcBef>
            <a:spcAft>
              <a:spcPct val="20000"/>
            </a:spcAft>
            <a:buChar char="•"/>
          </a:pPr>
          <a:r>
            <a:rPr lang="en-US" sz="1800" kern="1200" baseline="0"/>
            <a:t>Remember: guidance for replicated tables on disk is 2GB</a:t>
          </a:r>
          <a:endParaRPr lang="en-US" sz="1800" kern="1200"/>
        </a:p>
        <a:p>
          <a:pPr marL="171450" lvl="1" indent="-171450" algn="l" defTabSz="800100">
            <a:lnSpc>
              <a:spcPct val="90000"/>
            </a:lnSpc>
            <a:spcBef>
              <a:spcPct val="0"/>
            </a:spcBef>
            <a:spcAft>
              <a:spcPct val="20000"/>
            </a:spcAft>
            <a:buChar char="•"/>
          </a:pPr>
          <a:r>
            <a:rPr lang="en-US" sz="1800" kern="1200" baseline="0"/>
            <a:t>Depending on your SLO and workload, “Large” may mean millions, hundreds of millions, or billions of rows processed</a:t>
          </a:r>
          <a:endParaRPr lang="en-US" sz="1800" kern="1200"/>
        </a:p>
      </dsp:txBody>
      <dsp:txXfrm>
        <a:off x="0" y="1572840"/>
        <a:ext cx="11098906" cy="1285469"/>
      </dsp:txXfrm>
    </dsp:sp>
    <dsp:sp modelId="{1EB222A6-F037-4856-9DD0-498744F41BF3}">
      <dsp:nvSpPr>
        <dsp:cNvPr id="0" name=""/>
        <dsp:cNvSpPr/>
      </dsp:nvSpPr>
      <dsp:spPr>
        <a:xfrm>
          <a:off x="0" y="2858310"/>
          <a:ext cx="11098906" cy="5920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Shuffle moves are the most efficient operation for your largest data movement steps</a:t>
          </a:r>
          <a:endParaRPr lang="en-US" sz="2300" kern="1200" dirty="0"/>
        </a:p>
      </dsp:txBody>
      <dsp:txXfrm>
        <a:off x="28900" y="2887210"/>
        <a:ext cx="11041106" cy="534220"/>
      </dsp:txXfrm>
    </dsp:sp>
    <dsp:sp modelId="{DE15204B-123E-4E87-81BB-36F3ACF1A73C}">
      <dsp:nvSpPr>
        <dsp:cNvPr id="0" name=""/>
        <dsp:cNvSpPr/>
      </dsp:nvSpPr>
      <dsp:spPr>
        <a:xfrm>
          <a:off x="0" y="3450330"/>
          <a:ext cx="11098906"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dirty="0"/>
            <a:t>Takes the results of a step and stores it in a distributed table</a:t>
          </a:r>
          <a:endParaRPr lang="en-US" sz="1800" kern="1200" dirty="0"/>
        </a:p>
      </dsp:txBody>
      <dsp:txXfrm>
        <a:off x="0" y="3450330"/>
        <a:ext cx="11098906" cy="38088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F912F9-95EC-4D82-8576-DFA1B5BC2CA3}">
      <dsp:nvSpPr>
        <dsp:cNvPr id="0" name=""/>
        <dsp:cNvSpPr/>
      </dsp:nvSpPr>
      <dsp:spPr>
        <a:xfrm>
          <a:off x="0" y="3964"/>
          <a:ext cx="11098906" cy="4527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What operation in the query is currently executing?</a:t>
          </a:r>
          <a:endParaRPr lang="en-US" sz="1800" kern="1200" dirty="0"/>
        </a:p>
      </dsp:txBody>
      <dsp:txXfrm>
        <a:off x="22101" y="26065"/>
        <a:ext cx="11054704" cy="408536"/>
      </dsp:txXfrm>
    </dsp:sp>
    <dsp:sp modelId="{E9AA3800-28D4-4149-9485-6278840B6B1D}">
      <dsp:nvSpPr>
        <dsp:cNvPr id="0" name=""/>
        <dsp:cNvSpPr/>
      </dsp:nvSpPr>
      <dsp:spPr>
        <a:xfrm>
          <a:off x="0" y="456703"/>
          <a:ext cx="11098906" cy="9858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dirty="0"/>
            <a:t>Exec Requests</a:t>
          </a:r>
          <a:endParaRPr lang="en-US" sz="1800" kern="1200" dirty="0"/>
        </a:p>
        <a:p>
          <a:pPr marL="171450" lvl="1" indent="-171450" algn="l" defTabSz="800100">
            <a:lnSpc>
              <a:spcPct val="90000"/>
            </a:lnSpc>
            <a:spcBef>
              <a:spcPct val="0"/>
            </a:spcBef>
            <a:spcAft>
              <a:spcPct val="20000"/>
            </a:spcAft>
            <a:buChar char="•"/>
          </a:pPr>
          <a:r>
            <a:rPr lang="en-US" sz="1800" kern="1200" baseline="0" dirty="0"/>
            <a:t>Request Steps</a:t>
          </a:r>
          <a:endParaRPr lang="en-US" sz="1800" kern="1200" dirty="0"/>
        </a:p>
        <a:p>
          <a:pPr marL="171450" lvl="1" indent="-171450" algn="l" defTabSz="800100">
            <a:lnSpc>
              <a:spcPct val="90000"/>
            </a:lnSpc>
            <a:spcBef>
              <a:spcPct val="0"/>
            </a:spcBef>
            <a:spcAft>
              <a:spcPct val="20000"/>
            </a:spcAft>
            <a:buChar char="•"/>
          </a:pPr>
          <a:r>
            <a:rPr lang="en-US" sz="1800" kern="1200" baseline="0" dirty="0"/>
            <a:t>DMS Workers –or- SQL Requests</a:t>
          </a:r>
          <a:endParaRPr lang="en-US" sz="1800" kern="1200" dirty="0"/>
        </a:p>
      </dsp:txBody>
      <dsp:txXfrm>
        <a:off x="0" y="456703"/>
        <a:ext cx="11098906" cy="985844"/>
      </dsp:txXfrm>
    </dsp:sp>
    <dsp:sp modelId="{AEE11B65-395C-44F4-B365-AC1000DBD957}">
      <dsp:nvSpPr>
        <dsp:cNvPr id="0" name=""/>
        <dsp:cNvSpPr/>
      </dsp:nvSpPr>
      <dsp:spPr>
        <a:xfrm>
          <a:off x="0" y="1442547"/>
          <a:ext cx="11098906" cy="4527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How long has this step been running?</a:t>
          </a:r>
          <a:endParaRPr lang="en-US" sz="1800" kern="1200" dirty="0"/>
        </a:p>
      </dsp:txBody>
      <dsp:txXfrm>
        <a:off x="22101" y="1464648"/>
        <a:ext cx="11054704" cy="408536"/>
      </dsp:txXfrm>
    </dsp:sp>
    <dsp:sp modelId="{C380E710-689E-42FD-99FD-728A9A298AD7}">
      <dsp:nvSpPr>
        <dsp:cNvPr id="0" name=""/>
        <dsp:cNvSpPr/>
      </dsp:nvSpPr>
      <dsp:spPr>
        <a:xfrm>
          <a:off x="0" y="1895285"/>
          <a:ext cx="11098906" cy="3183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dirty="0"/>
            <a:t>Request Steps or DMS workers</a:t>
          </a:r>
          <a:endParaRPr lang="en-US" sz="1800" kern="1200" dirty="0"/>
        </a:p>
      </dsp:txBody>
      <dsp:txXfrm>
        <a:off x="0" y="1895285"/>
        <a:ext cx="11098906" cy="318345"/>
      </dsp:txXfrm>
    </dsp:sp>
    <dsp:sp modelId="{1A089BF9-CE2C-489B-B1CE-C7E3E24A21D9}">
      <dsp:nvSpPr>
        <dsp:cNvPr id="0" name=""/>
        <dsp:cNvSpPr/>
      </dsp:nvSpPr>
      <dsp:spPr>
        <a:xfrm>
          <a:off x="0" y="2213631"/>
          <a:ext cx="11098906" cy="4527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t>Data Movement operations </a:t>
          </a:r>
          <a:endParaRPr lang="en-US" sz="1800" kern="1200" dirty="0"/>
        </a:p>
      </dsp:txBody>
      <dsp:txXfrm>
        <a:off x="22101" y="2235732"/>
        <a:ext cx="11054704" cy="408536"/>
      </dsp:txXfrm>
    </dsp:sp>
    <dsp:sp modelId="{CAEFDEA2-1648-4746-BD05-603A18C1E785}">
      <dsp:nvSpPr>
        <dsp:cNvPr id="0" name=""/>
        <dsp:cNvSpPr/>
      </dsp:nvSpPr>
      <dsp:spPr>
        <a:xfrm>
          <a:off x="0" y="2666369"/>
          <a:ext cx="11098906" cy="9858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a:t>How many distributions are executing?</a:t>
          </a:r>
          <a:endParaRPr lang="en-US" sz="1800" kern="1200"/>
        </a:p>
        <a:p>
          <a:pPr marL="171450" lvl="1" indent="-171450" algn="l" defTabSz="800100">
            <a:lnSpc>
              <a:spcPct val="90000"/>
            </a:lnSpc>
            <a:spcBef>
              <a:spcPct val="0"/>
            </a:spcBef>
            <a:spcAft>
              <a:spcPct val="20000"/>
            </a:spcAft>
            <a:buChar char="•"/>
          </a:pPr>
          <a:r>
            <a:rPr lang="en-US" sz="1800" b="0" kern="1200" baseline="0" dirty="0"/>
            <a:t>Is ‘rows processed’ increasing?</a:t>
          </a:r>
          <a:endParaRPr lang="en-US" sz="1800" b="0" kern="1200" dirty="0"/>
        </a:p>
        <a:p>
          <a:pPr marL="171450" lvl="1" indent="-171450" algn="l" defTabSz="800100">
            <a:lnSpc>
              <a:spcPct val="90000"/>
            </a:lnSpc>
            <a:spcBef>
              <a:spcPct val="0"/>
            </a:spcBef>
            <a:spcAft>
              <a:spcPct val="20000"/>
            </a:spcAft>
            <a:buChar char="•"/>
          </a:pPr>
          <a:r>
            <a:rPr lang="en-US" sz="1800" b="0" kern="1200" baseline="0" dirty="0"/>
            <a:t>How many rows have been processed so far?</a:t>
          </a:r>
          <a:endParaRPr lang="en-US" sz="1800" b="0" kern="1200" dirty="0"/>
        </a:p>
      </dsp:txBody>
      <dsp:txXfrm>
        <a:off x="0" y="2666369"/>
        <a:ext cx="11098906" cy="985844"/>
      </dsp:txXfrm>
    </dsp:sp>
    <dsp:sp modelId="{9B7F3E4F-640D-4E4A-89F9-A7C5DAF41CA9}">
      <dsp:nvSpPr>
        <dsp:cNvPr id="0" name=""/>
        <dsp:cNvSpPr/>
      </dsp:nvSpPr>
      <dsp:spPr>
        <a:xfrm>
          <a:off x="0" y="3652213"/>
          <a:ext cx="11098906" cy="4527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a:t>SQL Requests</a:t>
          </a:r>
          <a:endParaRPr lang="en-US" sz="1800" kern="1200"/>
        </a:p>
      </dsp:txBody>
      <dsp:txXfrm>
        <a:off x="22101" y="3674314"/>
        <a:ext cx="11054704" cy="408536"/>
      </dsp:txXfrm>
    </dsp:sp>
    <dsp:sp modelId="{1BF8EC60-2868-4207-A6A6-FD4C11BA574C}">
      <dsp:nvSpPr>
        <dsp:cNvPr id="0" name=""/>
        <dsp:cNvSpPr/>
      </dsp:nvSpPr>
      <dsp:spPr>
        <a:xfrm>
          <a:off x="0" y="4104951"/>
          <a:ext cx="11098906" cy="129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2390"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dirty="0"/>
            <a:t>How many distributions are executing?</a:t>
          </a:r>
          <a:endParaRPr lang="en-US" sz="1800" kern="1200" dirty="0"/>
        </a:p>
        <a:p>
          <a:pPr marL="171450" lvl="1" indent="-171450" algn="l" defTabSz="800100">
            <a:lnSpc>
              <a:spcPct val="90000"/>
            </a:lnSpc>
            <a:spcBef>
              <a:spcPct val="0"/>
            </a:spcBef>
            <a:spcAft>
              <a:spcPct val="20000"/>
            </a:spcAft>
            <a:buChar char="•"/>
          </a:pPr>
          <a:r>
            <a:rPr lang="en-US" sz="1800" kern="1200" baseline="0" dirty="0"/>
            <a:t>Look at the query plan with DBCC PDW_SHOWEXECUTIONPLAN</a:t>
          </a:r>
          <a:endParaRPr lang="en-US" sz="1800" kern="1200" dirty="0"/>
        </a:p>
        <a:p>
          <a:pPr marL="171450" lvl="1" indent="-171450" algn="l" defTabSz="800100">
            <a:lnSpc>
              <a:spcPct val="90000"/>
            </a:lnSpc>
            <a:spcBef>
              <a:spcPct val="0"/>
            </a:spcBef>
            <a:spcAft>
              <a:spcPct val="20000"/>
            </a:spcAft>
            <a:buChar char="•"/>
          </a:pPr>
          <a:r>
            <a:rPr lang="en-US" sz="1800" kern="1200" dirty="0"/>
            <a:t>Return Operations:</a:t>
          </a:r>
        </a:p>
        <a:p>
          <a:pPr marL="171450" lvl="1" indent="-171450" algn="l" defTabSz="711200">
            <a:lnSpc>
              <a:spcPct val="90000"/>
            </a:lnSpc>
            <a:spcBef>
              <a:spcPct val="0"/>
            </a:spcBef>
            <a:spcAft>
              <a:spcPct val="20000"/>
            </a:spcAft>
            <a:buChar char="•"/>
          </a:pPr>
          <a:endParaRPr lang="en-US" sz="1600" kern="1200" dirty="0"/>
        </a:p>
      </dsp:txBody>
      <dsp:txXfrm>
        <a:off x="0" y="4104951"/>
        <a:ext cx="11098906" cy="129392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5ABD36-E525-40C4-A0FB-539C349F5C10}">
      <dsp:nvSpPr>
        <dsp:cNvPr id="0" name=""/>
        <dsp:cNvSpPr/>
      </dsp:nvSpPr>
      <dsp:spPr>
        <a:xfrm>
          <a:off x="0" y="286112"/>
          <a:ext cx="11098906" cy="113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1399" tIns="312420" rIns="861399"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t>Joins, WHERE, GROUP BY</a:t>
          </a:r>
          <a:endParaRPr lang="en-US" sz="2000" kern="1200" dirty="0"/>
        </a:p>
        <a:p>
          <a:pPr marL="228600" lvl="1" indent="-228600" algn="l" defTabSz="889000">
            <a:lnSpc>
              <a:spcPct val="90000"/>
            </a:lnSpc>
            <a:spcBef>
              <a:spcPct val="0"/>
            </a:spcBef>
            <a:spcAft>
              <a:spcPct val="15000"/>
            </a:spcAft>
            <a:buChar char="•"/>
          </a:pPr>
          <a:r>
            <a:rPr lang="en-US" sz="2000" kern="1200" baseline="0" dirty="0"/>
            <a:t>Tool for identifying joins using EXPLAIN plan on </a:t>
          </a:r>
          <a:r>
            <a:rPr lang="en-US" sz="2000" kern="1200" baseline="0" dirty="0" err="1"/>
            <a:t>Github</a:t>
          </a:r>
          <a:endParaRPr lang="en-US" sz="2000" kern="1200" dirty="0"/>
        </a:p>
      </dsp:txBody>
      <dsp:txXfrm>
        <a:off x="0" y="286112"/>
        <a:ext cx="11098906" cy="1134000"/>
      </dsp:txXfrm>
    </dsp:sp>
    <dsp:sp modelId="{45344D28-A513-4A1C-8C68-5E4D29BC1B3A}">
      <dsp:nvSpPr>
        <dsp:cNvPr id="0" name=""/>
        <dsp:cNvSpPr/>
      </dsp:nvSpPr>
      <dsp:spPr>
        <a:xfrm>
          <a:off x="554945" y="64712"/>
          <a:ext cx="7769234"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59" tIns="0" rIns="293659" bIns="0" numCol="1" spcCol="1270" anchor="ctr" anchorCtr="0">
          <a:noAutofit/>
        </a:bodyPr>
        <a:lstStyle/>
        <a:p>
          <a:pPr marL="0" lvl="0" indent="0" algn="l" defTabSz="889000">
            <a:lnSpc>
              <a:spcPct val="90000"/>
            </a:lnSpc>
            <a:spcBef>
              <a:spcPct val="0"/>
            </a:spcBef>
            <a:spcAft>
              <a:spcPct val="35000"/>
            </a:spcAft>
            <a:buNone/>
          </a:pPr>
          <a:r>
            <a:rPr lang="en-US" sz="2000" kern="1200" baseline="0" dirty="0"/>
            <a:t>Identify Columns for statistics</a:t>
          </a:r>
          <a:endParaRPr lang="en-US" sz="2000" kern="1200" dirty="0"/>
        </a:p>
      </dsp:txBody>
      <dsp:txXfrm>
        <a:off x="576561" y="86328"/>
        <a:ext cx="7726002" cy="399568"/>
      </dsp:txXfrm>
    </dsp:sp>
    <dsp:sp modelId="{A892DC63-1651-467C-8A53-E46BB032E52A}">
      <dsp:nvSpPr>
        <dsp:cNvPr id="0" name=""/>
        <dsp:cNvSpPr/>
      </dsp:nvSpPr>
      <dsp:spPr>
        <a:xfrm>
          <a:off x="0" y="1722512"/>
          <a:ext cx="11098906" cy="17955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1399" tIns="312420" rIns="861399"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t>Auto stats does not include auto-update in current version</a:t>
          </a:r>
          <a:endParaRPr lang="en-US" sz="2000" kern="1200" dirty="0"/>
        </a:p>
        <a:p>
          <a:pPr marL="228600" lvl="1" indent="-228600" algn="l" defTabSz="889000">
            <a:lnSpc>
              <a:spcPct val="90000"/>
            </a:lnSpc>
            <a:spcBef>
              <a:spcPct val="0"/>
            </a:spcBef>
            <a:spcAft>
              <a:spcPct val="15000"/>
            </a:spcAft>
            <a:buChar char="•"/>
          </a:pPr>
          <a:r>
            <a:rPr lang="en-US" sz="2000" kern="1200" baseline="0" dirty="0"/>
            <a:t>Auto-stats may add time to query execution while it pauses to create statistics</a:t>
          </a:r>
          <a:endParaRPr lang="en-US" sz="2000" kern="1200" dirty="0"/>
        </a:p>
        <a:p>
          <a:pPr marL="228600" lvl="1" indent="-228600" algn="l" defTabSz="889000">
            <a:lnSpc>
              <a:spcPct val="90000"/>
            </a:lnSpc>
            <a:spcBef>
              <a:spcPct val="0"/>
            </a:spcBef>
            <a:spcAft>
              <a:spcPct val="15000"/>
            </a:spcAft>
            <a:buChar char="•"/>
          </a:pPr>
          <a:r>
            <a:rPr lang="en-US" sz="2000" kern="1200" baseline="0" dirty="0"/>
            <a:t>Creating manual statistics at load time will offer more consistent workload performance</a:t>
          </a:r>
          <a:endParaRPr lang="en-US" sz="2000" kern="1200" dirty="0"/>
        </a:p>
      </dsp:txBody>
      <dsp:txXfrm>
        <a:off x="0" y="1722512"/>
        <a:ext cx="11098906" cy="1795500"/>
      </dsp:txXfrm>
    </dsp:sp>
    <dsp:sp modelId="{56C404A9-D93E-4904-8DCF-B6DF9CE2A04F}">
      <dsp:nvSpPr>
        <dsp:cNvPr id="0" name=""/>
        <dsp:cNvSpPr/>
      </dsp:nvSpPr>
      <dsp:spPr>
        <a:xfrm>
          <a:off x="554945" y="1501112"/>
          <a:ext cx="7769234"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59" tIns="0" rIns="293659" bIns="0" numCol="1" spcCol="1270" anchor="ctr" anchorCtr="0">
          <a:noAutofit/>
        </a:bodyPr>
        <a:lstStyle/>
        <a:p>
          <a:pPr marL="0" lvl="0" indent="0" algn="l" defTabSz="889000">
            <a:lnSpc>
              <a:spcPct val="90000"/>
            </a:lnSpc>
            <a:spcBef>
              <a:spcPct val="0"/>
            </a:spcBef>
            <a:spcAft>
              <a:spcPct val="35000"/>
            </a:spcAft>
            <a:buNone/>
          </a:pPr>
          <a:r>
            <a:rPr lang="en-US" sz="2000" kern="1200" baseline="0" dirty="0"/>
            <a:t>Review: Auto-stats vs. manual stats</a:t>
          </a:r>
          <a:endParaRPr lang="en-US" sz="2000" kern="1200" dirty="0"/>
        </a:p>
      </dsp:txBody>
      <dsp:txXfrm>
        <a:off x="576561" y="1522728"/>
        <a:ext cx="7726002" cy="399568"/>
      </dsp:txXfrm>
    </dsp:sp>
    <dsp:sp modelId="{E075F169-F6BE-4784-AD41-1390B8A15D60}">
      <dsp:nvSpPr>
        <dsp:cNvPr id="0" name=""/>
        <dsp:cNvSpPr/>
      </dsp:nvSpPr>
      <dsp:spPr>
        <a:xfrm>
          <a:off x="0" y="3820413"/>
          <a:ext cx="11098906" cy="10631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1399" tIns="312420" rIns="861399"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t>If desired, you can check statistics accuracy beforehand, but it only looks at table-level row count, which is only one component of statistics</a:t>
          </a:r>
          <a:endParaRPr lang="en-US" sz="2000" kern="1200" dirty="0"/>
        </a:p>
      </dsp:txBody>
      <dsp:txXfrm>
        <a:off x="0" y="3820413"/>
        <a:ext cx="11098906" cy="1063125"/>
      </dsp:txXfrm>
    </dsp:sp>
    <dsp:sp modelId="{0550C314-A7DC-426C-83B2-A4333510EB3B}">
      <dsp:nvSpPr>
        <dsp:cNvPr id="0" name=""/>
        <dsp:cNvSpPr/>
      </dsp:nvSpPr>
      <dsp:spPr>
        <a:xfrm>
          <a:off x="554945" y="3599013"/>
          <a:ext cx="7769234"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59" tIns="0" rIns="293659" bIns="0" numCol="1" spcCol="1270" anchor="ctr" anchorCtr="0">
          <a:noAutofit/>
        </a:bodyPr>
        <a:lstStyle/>
        <a:p>
          <a:pPr marL="0" lvl="0" indent="0" algn="l" defTabSz="889000">
            <a:lnSpc>
              <a:spcPct val="90000"/>
            </a:lnSpc>
            <a:spcBef>
              <a:spcPct val="0"/>
            </a:spcBef>
            <a:spcAft>
              <a:spcPct val="35000"/>
            </a:spcAft>
            <a:buNone/>
          </a:pPr>
          <a:r>
            <a:rPr lang="en-US" sz="2000" kern="1200" baseline="0"/>
            <a:t>Update statistics first </a:t>
          </a:r>
          <a:endParaRPr lang="en-US" sz="2000" kern="1200"/>
        </a:p>
      </dsp:txBody>
      <dsp:txXfrm>
        <a:off x="576561" y="3620629"/>
        <a:ext cx="7726002" cy="399568"/>
      </dsp:txXfrm>
    </dsp:sp>
    <dsp:sp modelId="{A377BA65-3DBE-4495-8E49-CF6AACF050DB}">
      <dsp:nvSpPr>
        <dsp:cNvPr id="0" name=""/>
        <dsp:cNvSpPr/>
      </dsp:nvSpPr>
      <dsp:spPr>
        <a:xfrm>
          <a:off x="0" y="5185938"/>
          <a:ext cx="11098906" cy="378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1537100-12A0-4035-9D12-F908E7D87CE5}">
      <dsp:nvSpPr>
        <dsp:cNvPr id="0" name=""/>
        <dsp:cNvSpPr/>
      </dsp:nvSpPr>
      <dsp:spPr>
        <a:xfrm>
          <a:off x="554945" y="4964538"/>
          <a:ext cx="7769234"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3659" tIns="0" rIns="293659" bIns="0" numCol="1" spcCol="1270" anchor="ctr" anchorCtr="0">
          <a:noAutofit/>
        </a:bodyPr>
        <a:lstStyle/>
        <a:p>
          <a:pPr marL="0" lvl="0" indent="0" algn="l" defTabSz="889000">
            <a:lnSpc>
              <a:spcPct val="90000"/>
            </a:lnSpc>
            <a:spcBef>
              <a:spcPct val="0"/>
            </a:spcBef>
            <a:spcAft>
              <a:spcPct val="35000"/>
            </a:spcAft>
            <a:buNone/>
          </a:pPr>
          <a:r>
            <a:rPr lang="en-US" sz="2000" kern="1200" baseline="0" dirty="0"/>
            <a:t>Create missing statistics</a:t>
          </a:r>
          <a:endParaRPr lang="en-US" sz="2000" kern="1200" dirty="0"/>
        </a:p>
      </dsp:txBody>
      <dsp:txXfrm>
        <a:off x="576561" y="4986154"/>
        <a:ext cx="7726002" cy="39956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15E69F-19B0-41B4-BB63-98C1F3E00A38}">
      <dsp:nvSpPr>
        <dsp:cNvPr id="0" name=""/>
        <dsp:cNvSpPr/>
      </dsp:nvSpPr>
      <dsp:spPr>
        <a:xfrm>
          <a:off x="0" y="121567"/>
          <a:ext cx="11098906" cy="51480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Run query</a:t>
          </a:r>
          <a:endParaRPr lang="en-US" sz="2000" kern="1200"/>
        </a:p>
      </dsp:txBody>
      <dsp:txXfrm>
        <a:off x="25130" y="146697"/>
        <a:ext cx="11048646" cy="464540"/>
      </dsp:txXfrm>
    </dsp:sp>
    <dsp:sp modelId="{5E694081-8CD2-41CD-B22A-749A2098A8E3}">
      <dsp:nvSpPr>
        <dsp:cNvPr id="0" name=""/>
        <dsp:cNvSpPr/>
      </dsp:nvSpPr>
      <dsp:spPr>
        <a:xfrm>
          <a:off x="0" y="693967"/>
          <a:ext cx="11098906" cy="514800"/>
        </a:xfrm>
        <a:prstGeom prst="roundRect">
          <a:avLst/>
        </a:prstGeom>
        <a:solidFill>
          <a:schemeClr val="accent4">
            <a:hueOff val="1066501"/>
            <a:satOff val="-3857"/>
            <a:lumOff val="37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Collect Explain plan</a:t>
          </a:r>
          <a:endParaRPr lang="en-US" sz="2000" kern="1200" dirty="0"/>
        </a:p>
      </dsp:txBody>
      <dsp:txXfrm>
        <a:off x="25130" y="719097"/>
        <a:ext cx="11048646" cy="464540"/>
      </dsp:txXfrm>
    </dsp:sp>
    <dsp:sp modelId="{500D62A5-306E-4EC7-9441-59225783D047}">
      <dsp:nvSpPr>
        <dsp:cNvPr id="0" name=""/>
        <dsp:cNvSpPr/>
      </dsp:nvSpPr>
      <dsp:spPr>
        <a:xfrm>
          <a:off x="0" y="1266367"/>
          <a:ext cx="11098906" cy="514800"/>
        </a:xfrm>
        <a:prstGeom prst="roundRect">
          <a:avLst/>
        </a:prstGeom>
        <a:solidFill>
          <a:schemeClr val="accent4">
            <a:hueOff val="2133002"/>
            <a:satOff val="-7713"/>
            <a:lumOff val="75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Update statistics for all involved tables</a:t>
          </a:r>
          <a:endParaRPr lang="en-US" sz="2000" kern="1200"/>
        </a:p>
      </dsp:txBody>
      <dsp:txXfrm>
        <a:off x="25130" y="1291497"/>
        <a:ext cx="11048646" cy="464540"/>
      </dsp:txXfrm>
    </dsp:sp>
    <dsp:sp modelId="{E31F98B4-5588-4363-A84A-A315F8DE21F4}">
      <dsp:nvSpPr>
        <dsp:cNvPr id="0" name=""/>
        <dsp:cNvSpPr/>
      </dsp:nvSpPr>
      <dsp:spPr>
        <a:xfrm>
          <a:off x="0" y="1838767"/>
          <a:ext cx="11098906" cy="514800"/>
        </a:xfrm>
        <a:prstGeom prst="roundRect">
          <a:avLst/>
        </a:prstGeom>
        <a:solidFill>
          <a:schemeClr val="accent4">
            <a:hueOff val="3199504"/>
            <a:satOff val="-11570"/>
            <a:lumOff val="113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Compare new explain plan</a:t>
          </a:r>
          <a:endParaRPr lang="en-US" sz="2000" kern="1200"/>
        </a:p>
      </dsp:txBody>
      <dsp:txXfrm>
        <a:off x="25130" y="1863897"/>
        <a:ext cx="11048646" cy="464540"/>
      </dsp:txXfrm>
    </dsp:sp>
    <dsp:sp modelId="{DAED3CFE-86ED-4AD0-8948-E47BFE24C1DB}">
      <dsp:nvSpPr>
        <dsp:cNvPr id="0" name=""/>
        <dsp:cNvSpPr/>
      </dsp:nvSpPr>
      <dsp:spPr>
        <a:xfrm>
          <a:off x="0" y="2411167"/>
          <a:ext cx="11098906" cy="514800"/>
        </a:xfrm>
        <a:prstGeom prst="roundRect">
          <a:avLst/>
        </a:prstGeom>
        <a:solidFill>
          <a:schemeClr val="accent4">
            <a:hueOff val="4266005"/>
            <a:satOff val="-15426"/>
            <a:lumOff val="150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Rerun query if explain changed</a:t>
          </a:r>
          <a:endParaRPr lang="en-US" sz="2000" kern="1200"/>
        </a:p>
      </dsp:txBody>
      <dsp:txXfrm>
        <a:off x="25130" y="2436297"/>
        <a:ext cx="11048646" cy="464540"/>
      </dsp:txXfrm>
    </dsp:sp>
    <dsp:sp modelId="{6E7A7ED1-0D76-4835-88CD-4E83C16FA1C2}">
      <dsp:nvSpPr>
        <dsp:cNvPr id="0" name=""/>
        <dsp:cNvSpPr/>
      </dsp:nvSpPr>
      <dsp:spPr>
        <a:xfrm>
          <a:off x="0" y="2983567"/>
          <a:ext cx="11098906" cy="514800"/>
        </a:xfrm>
        <a:prstGeom prst="roundRect">
          <a:avLst/>
        </a:prstGeom>
        <a:solidFill>
          <a:schemeClr val="accent4">
            <a:hueOff val="5332506"/>
            <a:satOff val="-19283"/>
            <a:lumOff val="1887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If still slow: create statistics on all involved columns</a:t>
          </a:r>
          <a:endParaRPr lang="en-US" sz="2000" kern="1200"/>
        </a:p>
      </dsp:txBody>
      <dsp:txXfrm>
        <a:off x="25130" y="3008697"/>
        <a:ext cx="11048646" cy="464540"/>
      </dsp:txXfrm>
    </dsp:sp>
    <dsp:sp modelId="{0C15E85D-7697-4CF2-A39A-0CE86B44240E}">
      <dsp:nvSpPr>
        <dsp:cNvPr id="0" name=""/>
        <dsp:cNvSpPr/>
      </dsp:nvSpPr>
      <dsp:spPr>
        <a:xfrm>
          <a:off x="0" y="3555967"/>
          <a:ext cx="11098906" cy="514800"/>
        </a:xfrm>
        <a:prstGeom prst="roundRect">
          <a:avLst/>
        </a:prstGeom>
        <a:solidFill>
          <a:schemeClr val="accent4">
            <a:hueOff val="6399007"/>
            <a:satOff val="-23139"/>
            <a:lumOff val="226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Compare new explain plan</a:t>
          </a:r>
          <a:endParaRPr lang="en-US" sz="2000" kern="1200"/>
        </a:p>
      </dsp:txBody>
      <dsp:txXfrm>
        <a:off x="25130" y="3581097"/>
        <a:ext cx="11048646" cy="464540"/>
      </dsp:txXfrm>
    </dsp:sp>
    <dsp:sp modelId="{1FFFF394-C07C-440D-9405-A22D8C46D18E}">
      <dsp:nvSpPr>
        <dsp:cNvPr id="0" name=""/>
        <dsp:cNvSpPr/>
      </dsp:nvSpPr>
      <dsp:spPr>
        <a:xfrm>
          <a:off x="0" y="4128367"/>
          <a:ext cx="11098906" cy="514800"/>
        </a:xfrm>
        <a:prstGeom prst="roundRect">
          <a:avLst/>
        </a:prstGeom>
        <a:solidFill>
          <a:schemeClr val="accent4">
            <a:hueOff val="7465508"/>
            <a:satOff val="-26996"/>
            <a:lumOff val="264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Rerun query if explain changed</a:t>
          </a:r>
          <a:endParaRPr lang="en-US" sz="2000" kern="1200"/>
        </a:p>
      </dsp:txBody>
      <dsp:txXfrm>
        <a:off x="25130" y="4153497"/>
        <a:ext cx="11048646" cy="464540"/>
      </dsp:txXfrm>
    </dsp:sp>
    <dsp:sp modelId="{40B0F4FA-51DD-4B0A-86D1-5DFB4A6828B0}">
      <dsp:nvSpPr>
        <dsp:cNvPr id="0" name=""/>
        <dsp:cNvSpPr/>
      </dsp:nvSpPr>
      <dsp:spPr>
        <a:xfrm>
          <a:off x="0" y="4700767"/>
          <a:ext cx="11098906" cy="514800"/>
        </a:xfrm>
        <a:prstGeom prst="roundRect">
          <a:avLst/>
        </a:prstGeom>
        <a:solidFill>
          <a:schemeClr val="accent4">
            <a:hueOff val="8532010"/>
            <a:satOff val="-30852"/>
            <a:lumOff val="301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If still slow, you have ruled out single-column statistics</a:t>
          </a:r>
          <a:endParaRPr lang="en-US" sz="2000" kern="1200"/>
        </a:p>
      </dsp:txBody>
      <dsp:txXfrm>
        <a:off x="25130" y="4725897"/>
        <a:ext cx="11048646" cy="46454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6.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7.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8.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19.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15/2022 8:31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2/15/2022 8:31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644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now identified a query to look into and now we will analyze whether or not the query in question has an issue executing.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8:31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4046478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query types require more memory than others – for instance a CTAS will require more memory to create indexes.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8: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33533718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query types require more memory than others – for instance a CTAS will require more memory to create indexes.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8: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9699236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8: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28294660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plan tool is especially useful when the query uses a lot of nested joi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8: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15124666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8: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1032197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s the distribution column included in the join criteria? a. This is not applicable for round robin or replicated tables, but could lead to questioning if the table SHOULD be a round robin or replicated tables. (see section on ‘Table Geometry’ for more info). b. Many times, the distribution columns is left out of the join criteria because it is not logically needed to complete the query, but in some of those cases, it can be easily added to the join criteria without changing the result set. If it can be included, it should be. 2. Are join fields calculated? a. Calculated fields in join criteria cannot leverage statistics and will almost always cause a broadcast move even if the tables involved have the same hash key. This is because the query engine uses a default value of 1000 for that half of the join and the tables are not technically being joined on the distribution column even if the calculated fields leverage the distribution column. b. Better to materialize these columns before joining 3. Are statistics in place and accurate for individual fields included in the join criteria? a. Join predicates will leverage single column stats and not composite stats. Generally, the accuracy of table value statistics are a good indication of the accuracy of the user defined statistics. 4. Join order of tables should be reviewed to support reduced data movement a. The joins are not necessarily executed in the order written, the optimizer may choose to change the order of joins because it believes it is more efficient. If you want to see how the plan is affected, you can add ‘OPTION(FORCE ORDER)’ to the end of the query to force the joins in the order writte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8: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5452475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mp tables are faster since they are stored on NVME storag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8: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15010918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azure/synapse-analytics/sql-data-warehouse/performance-tuning-ordered-cci</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8: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27257660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3270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8: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8233912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Memory is allocated per query using Workload Groups. CPU, Data IO, </a:t>
            </a:r>
            <a:r>
              <a:rPr lang="en-US" dirty="0" err="1"/>
              <a:t>Tempdb</a:t>
            </a:r>
            <a:r>
              <a:rPr lang="en-US" dirty="0"/>
              <a:t> are managed internally and allocated as needed for query execution</a:t>
            </a:r>
          </a:p>
          <a:p>
            <a:pPr marL="228600" indent="-228600">
              <a:buAutoNum type="arabicPeriod"/>
            </a:pPr>
            <a:r>
              <a:rPr lang="en-US" dirty="0"/>
              <a:t>Large Data Movement. Could also be a SQL operation that spills to TempDB, but that </a:t>
            </a:r>
            <a:r>
              <a:rPr lang="en-US" dirty="0" err="1"/>
              <a:t>isnt</a:t>
            </a:r>
            <a:r>
              <a:rPr lang="en-US" dirty="0"/>
              <a:t> covered in this module.</a:t>
            </a:r>
          </a:p>
          <a:p>
            <a:pPr marL="228600" indent="-228600">
              <a:buAutoNum type="arabicPeriod"/>
            </a:pPr>
            <a:r>
              <a:rPr lang="en-US" dirty="0"/>
              <a:t>Heap</a:t>
            </a:r>
          </a:p>
          <a:p>
            <a:pPr marL="228600" indent="-228600">
              <a:buAutoNum type="arabicPeriod"/>
            </a:pPr>
            <a:r>
              <a:rPr lang="en-US" dirty="0"/>
              <a:t>CCI</a:t>
            </a:r>
          </a:p>
          <a:p>
            <a:pPr marL="228600" indent="-228600">
              <a:buAutoNum type="arabicPeriod"/>
            </a:pPr>
            <a:r>
              <a:rPr lang="en-US" dirty="0"/>
              <a:t>Because TempDB is stored on local </a:t>
            </a:r>
            <a:r>
              <a:rPr lang="en-US" dirty="0" err="1"/>
              <a:t>NVMe</a:t>
            </a:r>
            <a:r>
              <a:rPr lang="en-US" dirty="0"/>
              <a:t> drives – very much faster than regular tabl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05CA6-A7A9-4E0F-8672-28CF28CC7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2014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934823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lesson we assume we have a query in mind that we already suspect is having an issue. We will learn how to identify what the query is currently doing and whether or not it is progressing.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8:31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404647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454764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y of the resources in the list can be the source of query conten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8: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7994421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8: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1450791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8: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4194650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8: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18389617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ws processed is the #1 to find the largest operation currently executing. </a:t>
            </a:r>
          </a:p>
          <a:p>
            <a:endParaRPr lang="en-US" dirty="0"/>
          </a:p>
          <a:p>
            <a:r>
              <a:rPr lang="en-US" dirty="0"/>
              <a:t>Remember rows processed is heavily dependent on how much data we can eliminate before the movement. We always move the least amount of data possible by eliminating unnecessary columns or rows BEFORE the data movement. So a million rows processed on a broadcast with 1 column may be much different in size than a broadcast with a million rows processed with 100 columns.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EEC551-8CDA-4EB6-89BB-2A86C9F091C8}" type="datetime8">
              <a:rPr lang="en-US" smtClean="0"/>
              <a:t>2/15/2022 8: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4805638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938337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377866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872488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743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06185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503803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47778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3007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41124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746980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8096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786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658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887269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182580074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0792486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Copyright">
    <p:bg>
      <p:bgPr>
        <a:solidFill>
          <a:schemeClr val="bg1"/>
        </a:solidFill>
        <a:effectLst/>
      </p:bgPr>
    </p:bg>
    <p:spTree>
      <p:nvGrpSpPr>
        <p:cNvPr id="1" name=""/>
        <p:cNvGrpSpPr/>
        <p:nvPr/>
      </p:nvGrpSpPr>
      <p:grpSpPr>
        <a:xfrm>
          <a:off x="0" y="0"/>
          <a:ext cx="0" cy="0"/>
          <a:chOff x="0" y="0"/>
          <a:chExt cx="0" cy="0"/>
        </a:xfrm>
      </p:grpSpPr>
      <p:sp>
        <p:nvSpPr>
          <p:cNvPr id="2" name="Content Placeholder 2"/>
          <p:cNvSpPr txBox="1">
            <a:spLocks/>
          </p:cNvSpPr>
          <p:nvPr userDrawn="1"/>
        </p:nvSpPr>
        <p:spPr>
          <a:xfrm>
            <a:off x="233184" y="369155"/>
            <a:ext cx="12047835" cy="6081351"/>
          </a:xfrm>
          <a:prstGeom prst="rect">
            <a:avLst/>
          </a:prstGeom>
        </p:spPr>
        <p:txBody>
          <a:bodyPr vert="horz" lIns="93260" tIns="46630" rIns="93260" bIns="46630"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16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SkyDrive®, Windows Vista®, Zune®, Xbox 360®,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42366775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a:prstGeom prst="rect">
            <a:avLst/>
          </a:prstGeom>
        </p:spPr>
        <p:txBody>
          <a:bodyPr/>
          <a:lstStyle>
            <a:lvl1pPr>
              <a:defRPr>
                <a:solidFill>
                  <a:schemeClr val="tx2"/>
                </a:solidFill>
              </a:defRPr>
            </a:lvl1pPr>
          </a:lstStyle>
          <a:p>
            <a:r>
              <a:rPr lang="en-US"/>
              <a:t>Click to edit Master title style</a:t>
            </a:r>
            <a:endParaRPr lang="en-GB"/>
          </a:p>
        </p:txBody>
      </p:sp>
      <p:sp>
        <p:nvSpPr>
          <p:cNvPr id="3" name="Text Placeholder 2"/>
          <p:cNvSpPr>
            <a:spLocks noGrp="1"/>
          </p:cNvSpPr>
          <p:nvPr>
            <p:ph type="body" idx="1"/>
          </p:nvPr>
        </p:nvSpPr>
        <p:spPr>
          <a:xfrm>
            <a:off x="856628" y="1466057"/>
            <a:ext cx="5261211" cy="1088888"/>
          </a:xfrm>
          <a:prstGeom prst="rect">
            <a:avLst/>
          </a:prstGeom>
        </p:spPr>
        <p:txBody>
          <a:bodyPr anchor="b"/>
          <a:lstStyle>
            <a:lvl1pPr marL="0" indent="0">
              <a:buNone/>
              <a:defRPr sz="3264" b="1">
                <a:latin typeface="+mj-lt"/>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2646878"/>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1714631"/>
            <a:ext cx="5287122" cy="840314"/>
          </a:xfrm>
          <a:prstGeom prst="rect">
            <a:avLst/>
          </a:prstGeom>
        </p:spPr>
        <p:txBody>
          <a:bodyPr anchor="b">
            <a:noAutofit/>
          </a:bodyPr>
          <a:lstStyle>
            <a:lvl1pPr marL="0" indent="0">
              <a:buNone/>
              <a:defRPr sz="3264" b="1">
                <a:latin typeface="+mj-lt"/>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264687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p:cNvSpPr>
            <a:spLocks noGrp="1"/>
          </p:cNvSpPr>
          <p:nvPr>
            <p:ph type="ftr" sz="quarter" idx="1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05050"/>
                </a:solidFill>
                <a:effectLst/>
                <a:uLnTx/>
                <a:uFillTx/>
                <a:latin typeface="Segoe UI"/>
                <a:ea typeface="+mn-ea"/>
                <a:cs typeface="+mn-cs"/>
              </a:rPr>
              <a:t>© Microsoft 2014</a:t>
            </a:r>
          </a:p>
        </p:txBody>
      </p:sp>
      <p:sp>
        <p:nvSpPr>
          <p:cNvPr id="9" name="Slide Number Placeholder 8"/>
          <p:cNvSpPr>
            <a:spLocks noGrp="1"/>
          </p:cNvSpPr>
          <p:nvPr>
            <p:ph type="sldNum"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D75E92BD-1670-425B-83DE-6D52607E5D57}" type="slidenum">
              <a:rPr kumimoji="0" lang="en-GB"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a:t>
            </a:fld>
            <a:endParaRPr kumimoji="0" lang="en-GB"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14311940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131881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9309753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77745739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65748725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9091262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69110631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521826300"/>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714541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6222789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7322242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3076453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936137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12748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874105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037212438"/>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1827734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65357755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Tree>
    <p:extLst>
      <p:ext uri="{BB962C8B-B14F-4D97-AF65-F5344CB8AC3E}">
        <p14:creationId xmlns:p14="http://schemas.microsoft.com/office/powerpoint/2010/main" val="362039663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0246506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6900460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7049583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70997222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5618308"/>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856"/>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3419619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4426299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84714248"/>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51465356"/>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0448660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2692259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7282951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3287573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07605473"/>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44724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6105809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160" indent="-349724">
              <a:defRPr sz="2040"/>
            </a:lvl2pPr>
            <a:lvl3pPr marL="0" indent="0">
              <a:buNone/>
              <a:defRPr sz="2448"/>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4863191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85355395"/>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46645574"/>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996679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0451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23206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0550123"/>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6081351"/>
          </a:xfrm>
          <a:prstGeom prst="rect">
            <a:avLst/>
          </a:prstGeom>
        </p:spPr>
        <p:txBody>
          <a:bodyPr vert="horz" lIns="93247" tIns="46623" rIns="93247" bIns="46623"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dirty="0">
                <a:solidFill>
                  <a:srgbClr val="000000"/>
                </a:solidFill>
              </a:rPr>
              <a:t>Conditions and Terms of Use</a:t>
            </a:r>
          </a:p>
          <a:p>
            <a:r>
              <a:rPr lang="en-US" sz="1530" dirty="0">
                <a:solidFill>
                  <a:srgbClr val="0A5BBA"/>
                </a:solidFill>
              </a:rPr>
              <a:t>Microsoft Confidential</a:t>
            </a:r>
          </a:p>
          <a:p>
            <a:r>
              <a:rPr lang="en-US" sz="1836"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dirty="0">
              <a:solidFill>
                <a:srgbClr val="000000"/>
              </a:solidFill>
            </a:endParaRPr>
          </a:p>
          <a:p>
            <a:r>
              <a:rPr lang="en-US" sz="2346" b="1" dirty="0">
                <a:solidFill>
                  <a:srgbClr val="000000"/>
                </a:solidFill>
              </a:rPr>
              <a:t>Copyright and Trademarks </a:t>
            </a:r>
          </a:p>
          <a:p>
            <a:r>
              <a:rPr lang="en-US" sz="1530" dirty="0">
                <a:solidFill>
                  <a:srgbClr val="0A5BBA"/>
                </a:solidFill>
              </a:rPr>
              <a:t>© 2020 Microsoft Corporation. All rights reserved.</a:t>
            </a:r>
          </a:p>
          <a:p>
            <a:r>
              <a:rPr lang="en-US" sz="1836"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dirty="0">
                <a:solidFill>
                  <a:srgbClr val="000000"/>
                </a:solidFill>
              </a:rPr>
              <a:t>For more information, see </a:t>
            </a:r>
            <a:r>
              <a:rPr lang="en-US" sz="1836" b="1" dirty="0">
                <a:solidFill>
                  <a:srgbClr val="000000"/>
                </a:solidFill>
              </a:rPr>
              <a:t>Use of Microsoft Copyrighted Content </a:t>
            </a:r>
            <a:r>
              <a:rPr lang="en-US" sz="1836" dirty="0">
                <a:solidFill>
                  <a:srgbClr val="000000"/>
                </a:solidFill>
              </a:rPr>
              <a:t>at</a:t>
            </a:r>
            <a:br>
              <a:rPr lang="en-US" sz="1836" dirty="0">
                <a:solidFill>
                  <a:srgbClr val="000000"/>
                </a:solidFill>
              </a:rPr>
            </a:br>
            <a:r>
              <a:rPr lang="en-US" sz="1836" dirty="0">
                <a:solidFill>
                  <a:srgbClr val="FF0000"/>
                </a:solidFill>
                <a:hlinkClick r:id="rId2"/>
              </a:rPr>
              <a:t>https://www.microsoft.com/en-us/legal/intellectualproperty/permissions/default.aspx</a:t>
            </a:r>
            <a:r>
              <a:rPr lang="en-US" sz="1836" dirty="0">
                <a:solidFill>
                  <a:srgbClr val="FF0000"/>
                </a:solidFill>
              </a:rPr>
              <a:t> </a:t>
            </a:r>
          </a:p>
          <a:p>
            <a:r>
              <a:rPr lang="en-US" sz="1836"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522369441"/>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997130902"/>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508" indent="-167867">
              <a:spcBef>
                <a:spcPts val="337"/>
              </a:spcBef>
              <a:defRPr sz="1836" baseline="0"/>
            </a:lvl6pPr>
            <a:lvl7pPr marL="1044508" indent="-167867">
              <a:spcBef>
                <a:spcPts val="337"/>
              </a:spcBef>
              <a:defRPr sz="1836" baseline="0"/>
            </a:lvl7pPr>
            <a:lvl8pPr marL="1044508" indent="-167867">
              <a:spcBef>
                <a:spcPts val="337"/>
              </a:spcBef>
              <a:defRPr sz="1836" baseline="0"/>
            </a:lvl8pPr>
            <a:lvl9pPr marL="1044508" indent="-167867">
              <a:spcBef>
                <a:spcPts val="337"/>
              </a:spcBef>
              <a:defRPr sz="1836"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235568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09A250-FF31-4206-8172-F9D3106AACB1}" type="datetimeFigureOut">
              <a:rPr lang="en-US"/>
              <a:t>2/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a:t>‹#›</a:t>
            </a:fld>
            <a:endParaRPr lang="en-US" dirty="0"/>
          </a:p>
        </p:txBody>
      </p:sp>
    </p:spTree>
    <p:extLst>
      <p:ext uri="{BB962C8B-B14F-4D97-AF65-F5344CB8AC3E}">
        <p14:creationId xmlns:p14="http://schemas.microsoft.com/office/powerpoint/2010/main" val="59743902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7"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34977" y="227014"/>
            <a:ext cx="5667375" cy="773112"/>
          </a:xfrm>
          <a:prstGeom prst="rect">
            <a:avLst/>
          </a:prstGeom>
        </p:spPr>
        <p:txBody>
          <a:bodyPr vert="horz" wrap="square" lIns="0" tIns="164592" rIns="0" bIns="0" rtlCol="0" anchor="t">
            <a:noAutofit/>
          </a:bodyPr>
          <a:lstStyle>
            <a:lvl1pPr>
              <a:defRPr sz="3468"/>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8"/>
            <a:ext cx="5667374" cy="2624741"/>
          </a:xfrm>
        </p:spPr>
        <p:txBody>
          <a:bodyPr wrap="square" lIns="0" tIns="0" rIns="0" bIns="0">
            <a:noAutofit/>
          </a:bodyPr>
          <a:lstStyle>
            <a:lvl1pPr marL="0" marR="0" indent="0" algn="l" defTabSz="932384" rtl="0" eaLnBrk="1" fontAlgn="auto" latinLnBrk="0" hangingPunct="1">
              <a:lnSpc>
                <a:spcPct val="90000"/>
              </a:lnSpc>
              <a:spcBef>
                <a:spcPts val="0"/>
              </a:spcBef>
              <a:spcAft>
                <a:spcPts val="2600"/>
              </a:spcAft>
              <a:buClrTx/>
              <a:buSzPct val="90000"/>
              <a:buFont typeface="Wingdings" panose="05000000000000000000" pitchFamily="2" charset="2"/>
              <a:buNone/>
              <a:tabLst/>
              <a:defRPr sz="2448" b="0" i="0">
                <a:solidFill>
                  <a:srgbClr val="000000"/>
                </a:solidFill>
                <a:latin typeface="+mn-lt"/>
              </a:defRPr>
            </a:lvl1pPr>
            <a:lvl2pPr marL="228513" marR="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024" indent="0">
              <a:buNone/>
              <a:defRPr/>
            </a:lvl3pPr>
            <a:lvl4pPr marL="685537" indent="0">
              <a:buNone/>
              <a:defRPr/>
            </a:lvl4pPr>
            <a:lvl5pPr marL="914049"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2449382765"/>
      </p:ext>
    </p:extLst>
  </p:cSld>
  <p:clrMapOvr>
    <a:masterClrMapping/>
  </p:clrMapOvr>
  <p:transition>
    <p:fade/>
  </p:transition>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91105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sz="3468">
                <a:solidFill>
                  <a:schemeClr val="tx2"/>
                </a:solidFill>
              </a:defRPr>
            </a:lvl1pPr>
          </a:lstStyle>
          <a:p>
            <a:r>
              <a:rPr lang="en-US"/>
              <a:t>Title</a:t>
            </a:r>
          </a:p>
        </p:txBody>
      </p:sp>
    </p:spTree>
    <p:extLst>
      <p:ext uri="{BB962C8B-B14F-4D97-AF65-F5344CB8AC3E}">
        <p14:creationId xmlns:p14="http://schemas.microsoft.com/office/powerpoint/2010/main" val="77838826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0" y="2"/>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7"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136816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36697455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9" cy="753369"/>
          </a:xfrm>
          <a:noFill/>
        </p:spPr>
        <p:txBody>
          <a:bodyPr wrap="square" lIns="0" tIns="0" rIns="0" bIns="182880" anchor="b" anchorCtr="0">
            <a:spAutoFit/>
          </a:bodyPr>
          <a:lstStyle>
            <a:lvl1pPr>
              <a:lnSpc>
                <a:spcPct val="100000"/>
              </a:lnSpc>
              <a:defRPr sz="3672" strike="noStrike" spc="-150"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sz="2244"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10921" y="310868"/>
            <a:ext cx="2103514" cy="943146"/>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7443514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475" cy="6994525"/>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33913" y="4609100"/>
            <a:ext cx="11180738" cy="753369"/>
          </a:xfrm>
          <a:noFill/>
        </p:spPr>
        <p:txBody>
          <a:bodyPr wrap="square" lIns="0" tIns="0" rIns="0" bIns="182880" anchor="b" anchorCtr="0">
            <a:noAutofit/>
          </a:bodyPr>
          <a:lstStyle>
            <a:lvl1pPr>
              <a:lnSpc>
                <a:spcPct val="100000"/>
              </a:lnSpc>
              <a:defRPr sz="3672" strike="noStrike" spc="-150"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34227" y="5362469"/>
            <a:ext cx="11180425" cy="934125"/>
          </a:xfrm>
          <a:noFill/>
        </p:spPr>
        <p:txBody>
          <a:bodyPr lIns="0" tIns="0" rIns="0" bIns="0" anchor="t">
            <a:noAutofit/>
          </a:bodyPr>
          <a:lstStyle>
            <a:lvl1pPr marL="0" indent="0">
              <a:lnSpc>
                <a:spcPct val="100000"/>
              </a:lnSpc>
              <a:spcBef>
                <a:spcPts val="0"/>
              </a:spcBef>
              <a:buNone/>
              <a:defRPr lang="en-US" sz="2244"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9818669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440634" y="3594"/>
            <a:ext cx="6995517" cy="6994525"/>
          </a:xfrm>
          <a:no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472207612"/>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68786" y="2536681"/>
            <a:ext cx="4440210" cy="1119124"/>
          </a:xfrm>
        </p:spPr>
        <p:txBody>
          <a:bodyPr bIns="45720" anchor="b">
            <a:noAutofit/>
          </a:bodyPr>
          <a:lstStyle>
            <a:lvl1pPr algn="l">
              <a:defRPr sz="3672">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440634" y="3594"/>
            <a:ext cx="6995517" cy="6990931"/>
          </a:xfrm>
          <a:solidFill>
            <a:srgbClr val="0078D4"/>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12132492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68785" y="2536681"/>
            <a:ext cx="4440210" cy="1119124"/>
          </a:xfrm>
        </p:spPr>
        <p:txBody>
          <a:bodyPr bIns="45720" anchor="b">
            <a:noAutofit/>
          </a:bodyPr>
          <a:lstStyle>
            <a:lvl1pPr algn="l">
              <a:defRPr sz="3672">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68785" y="3972631"/>
            <a:ext cx="4440209"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0676615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bg1"/>
                </a:solidFill>
              </a:defRPr>
            </a:lvl1pPr>
            <a:lvl2pPr marL="0" indent="0" algn="l" defTabSz="951248">
              <a:lnSpc>
                <a:spcPct val="100000"/>
              </a:lnSpc>
              <a:spcBef>
                <a:spcPts val="685"/>
              </a:spcBef>
              <a:buFontTx/>
              <a:buNone/>
              <a:defRPr sz="2244" baseline="0">
                <a:solidFill>
                  <a:schemeClr val="bg1"/>
                </a:solidFill>
              </a:defRPr>
            </a:lvl2pPr>
            <a:lvl3pPr marL="0" indent="0" algn="l" defTabSz="951248">
              <a:lnSpc>
                <a:spcPct val="100000"/>
              </a:lnSpc>
              <a:spcBef>
                <a:spcPts val="685"/>
              </a:spcBef>
              <a:buFontTx/>
              <a:buNone/>
              <a:defRPr sz="2244" baseline="0">
                <a:solidFill>
                  <a:schemeClr val="bg1"/>
                </a:solidFill>
              </a:defRPr>
            </a:lvl3pPr>
            <a:lvl4pPr marL="0" indent="0" algn="l" defTabSz="951248">
              <a:lnSpc>
                <a:spcPct val="100000"/>
              </a:lnSpc>
              <a:spcBef>
                <a:spcPts val="685"/>
              </a:spcBef>
              <a:buFontTx/>
              <a:buNone/>
              <a:defRPr sz="2244" baseline="0">
                <a:solidFill>
                  <a:schemeClr val="bg1"/>
                </a:solidFill>
              </a:defRPr>
            </a:lvl4pPr>
            <a:lvl5pPr marL="0" indent="0" algn="l">
              <a:lnSpc>
                <a:spcPct val="110000"/>
              </a:lnSpc>
              <a:buNone/>
              <a:defRPr sz="2244" baseline="0">
                <a:solidFill>
                  <a:schemeClr val="bg1"/>
                </a:solidFill>
              </a:defRPr>
            </a:lvl5pPr>
            <a:lvl6pPr marL="0" indent="0" algn="l" defTabSz="951248">
              <a:lnSpc>
                <a:spcPct val="100000"/>
              </a:lnSpc>
              <a:spcBef>
                <a:spcPts val="685"/>
              </a:spcBef>
              <a:buFontTx/>
              <a:buNone/>
              <a:defRPr sz="2244" baseline="0">
                <a:solidFill>
                  <a:schemeClr val="bg1"/>
                </a:solidFill>
              </a:defRPr>
            </a:lvl6pPr>
            <a:lvl7pPr marL="0" indent="0" algn="l" defTabSz="951248">
              <a:lnSpc>
                <a:spcPct val="100000"/>
              </a:lnSpc>
              <a:spcBef>
                <a:spcPts val="685"/>
              </a:spcBef>
              <a:buFontTx/>
              <a:buNone/>
              <a:defRPr sz="2244" baseline="0">
                <a:solidFill>
                  <a:schemeClr val="bg1"/>
                </a:solidFill>
              </a:defRPr>
            </a:lvl7pPr>
            <a:lvl8pPr marL="0" indent="0" algn="l" defTabSz="951248">
              <a:lnSpc>
                <a:spcPct val="100000"/>
              </a:lnSpc>
              <a:spcBef>
                <a:spcPts val="685"/>
              </a:spcBef>
              <a:buFontTx/>
              <a:buNone/>
              <a:defRPr sz="2244" baseline="0">
                <a:solidFill>
                  <a:schemeClr val="bg1"/>
                </a:solidFill>
              </a:defRPr>
            </a:lvl8pPr>
            <a:lvl9pPr marL="0" indent="0" algn="l" defTabSz="951248">
              <a:lnSpc>
                <a:spcPct val="100000"/>
              </a:lnSpc>
              <a:spcBef>
                <a:spcPts val="685"/>
              </a:spcBef>
              <a:buFontTx/>
              <a:buNone/>
              <a:defRPr sz="2244"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362463054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68785" y="3972631"/>
            <a:ext cx="9196514" cy="317344"/>
          </a:xfrm>
          <a:prstGeom prst="rect">
            <a:avLst/>
          </a:prstGeom>
        </p:spPr>
        <p:txBody>
          <a:bodyPr/>
          <a:lstStyle>
            <a:lvl1pPr marL="0" indent="0" algn="l" defTabSz="951248">
              <a:lnSpc>
                <a:spcPct val="100000"/>
              </a:lnSpc>
              <a:spcBef>
                <a:spcPts val="685"/>
              </a:spcBef>
              <a:buFontTx/>
              <a:buNone/>
              <a:defRPr sz="2244"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934596410"/>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351910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a:defRPr sz="2448"/>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497899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2347775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68786" y="326411"/>
            <a:ext cx="11098906" cy="470856"/>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68785" y="1436146"/>
            <a:ext cx="11098907" cy="4915597"/>
          </a:xfrm>
          <a:prstGeom prst="rect">
            <a:avLst/>
          </a:prstGeom>
        </p:spPr>
        <p:txBody>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4959359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989868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68785" y="1436145"/>
            <a:ext cx="5390758"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376934" y="1436145"/>
            <a:ext cx="5390756"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811013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882301517"/>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68785"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747030093"/>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436647262"/>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89" cy="616838"/>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02474618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lvl1pPr>
          </a:lstStyle>
          <a:p>
            <a:pPr lvl="0"/>
            <a:r>
              <a:rPr lang="en-US" noProof="0"/>
              <a:t>Click to edit Master title style</a:t>
            </a:r>
          </a:p>
        </p:txBody>
      </p:sp>
    </p:spTree>
    <p:extLst>
      <p:ext uri="{BB962C8B-B14F-4D97-AF65-F5344CB8AC3E}">
        <p14:creationId xmlns:p14="http://schemas.microsoft.com/office/powerpoint/2010/main" val="377985148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436475" cy="6994525"/>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68785" y="3039097"/>
            <a:ext cx="9196190" cy="616837"/>
          </a:xfrm>
        </p:spPr>
        <p:txBody>
          <a:bodyPr vert="horz" lIns="0" tIns="0" rIns="0" bIns="45720" rtlCol="0" anchor="b">
            <a:noAutofit/>
          </a:bodyPr>
          <a:lstStyle>
            <a:lvl1pPr>
              <a:defRPr lang="en-GB" sz="3672"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5294103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68784" y="642784"/>
            <a:ext cx="4440211" cy="2543610"/>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68461" y="3655805"/>
            <a:ext cx="4440210" cy="2695807"/>
          </a:xfrm>
          <a:prstGeom prst="rect">
            <a:avLst/>
          </a:prstGeom>
        </p:spPr>
        <p:txBody>
          <a:bodyPr>
            <a:noAutofit/>
          </a:bodyPr>
          <a:lstStyle>
            <a:lvl1pPr marL="0" indent="0">
              <a:buNone/>
              <a:defRPr sz="2448">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958"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3272688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9101664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68784" y="326411"/>
            <a:ext cx="4440211" cy="470856"/>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68785" y="802038"/>
            <a:ext cx="4440211"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68461" y="1436145"/>
            <a:ext cx="4440210" cy="4915597"/>
          </a:xfrm>
        </p:spPr>
        <p:txBody>
          <a:bodyPr/>
          <a:lstStyle>
            <a:lvl1pPr marL="0" indent="0">
              <a:buNone/>
              <a:defRPr sz="244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4525"/>
          </a:xfrm>
          <a:solidFill>
            <a:srgbClr val="243A5E"/>
          </a:solidFill>
        </p:spPr>
        <p:txBody>
          <a:bodyPr tIns="1828800" anchor="t"/>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4389295"/>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68784" y="-470855"/>
            <a:ext cx="4440211" cy="470856"/>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68786" y="642784"/>
            <a:ext cx="4440210" cy="5708957"/>
          </a:xfrm>
          <a:prstGeom prst="rect">
            <a:avLst/>
          </a:prstGeom>
        </p:spPr>
        <p:txBody>
          <a:bodyPr vert="horz" lIns="0" tIns="0" rIns="0" bIns="0" rtlCol="0">
            <a:normAutofit/>
          </a:bodyPr>
          <a:lstStyle>
            <a:lvl1pPr marL="0" indent="0">
              <a:buNone/>
              <a:defRPr sz="2448"/>
            </a:lvl1pPr>
            <a:lvl2pPr marL="317083" indent="0">
              <a:buNone/>
              <a:defRPr/>
            </a:lvl2pPr>
            <a:lvl3pPr marL="634166" indent="0">
              <a:buNone/>
              <a:defRPr/>
            </a:lvl3pPr>
            <a:lvl4pPr marL="951248" indent="0">
              <a:buNone/>
              <a:defRPr/>
            </a:lvl4pPr>
            <a:lvl5pPr marL="1249679"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17505213"/>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68785" y="3039057"/>
            <a:ext cx="4440210" cy="3312685"/>
          </a:xfrm>
        </p:spPr>
        <p:txBody>
          <a:bodyPr anchor="t">
            <a:noAutofit/>
          </a:bodyPr>
          <a:lstStyle>
            <a:lvl1pPr>
              <a:defRPr sz="2856"/>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440634" y="0"/>
            <a:ext cx="6995517" cy="6998119"/>
          </a:xfrm>
          <a:solidFill>
            <a:srgbClr val="243A5E"/>
          </a:solidFill>
        </p:spPr>
        <p:txBody>
          <a:bodyPr tIns="18288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0996110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68785" y="5082366"/>
            <a:ext cx="11098907" cy="1269376"/>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436151" cy="4765021"/>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00630712"/>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69107" y="642460"/>
            <a:ext cx="11098907" cy="1269377"/>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70834"/>
            <a:ext cx="12436151" cy="4923691"/>
          </a:xfrm>
          <a:solidFill>
            <a:srgbClr val="243A5E"/>
          </a:solidFill>
        </p:spPr>
        <p:txBody>
          <a:bodyPr tIns="1005840" anchor="t">
            <a:noAutofit/>
          </a:bodyPr>
          <a:lstStyle>
            <a:lvl1pPr marL="0" marR="0" indent="0" algn="ctr" defTabSz="95124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81828501"/>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2099137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460" y="5717053"/>
            <a:ext cx="5400670" cy="634494"/>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367344" y="5717053"/>
            <a:ext cx="5400671"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68785"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376740" y="2065975"/>
            <a:ext cx="5402094" cy="3492406"/>
          </a:xfrm>
          <a:solidFill>
            <a:srgbClr val="243A5E"/>
          </a:solidFill>
        </p:spPr>
        <p:txBody>
          <a:bodyPr tIns="45720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5631613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532464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5717054"/>
            <a:ext cx="3470229" cy="634688"/>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474217" y="5717055"/>
            <a:ext cx="3488044"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297463" y="5717055"/>
            <a:ext cx="3470227" cy="634687"/>
          </a:xfrm>
          <a:prstGeom prst="rect">
            <a:avLst/>
          </a:prstGeom>
        </p:spPr>
        <p:txBody>
          <a:bodyPr>
            <a:noAutofit/>
          </a:bodyPr>
          <a:lstStyle>
            <a:lvl1pPr marL="0" indent="0" algn="ctr">
              <a:spcBef>
                <a:spcPts val="0"/>
              </a:spcBef>
              <a:buNone/>
              <a:defRPr sz="204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68784" y="2065975"/>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474215"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279649" y="2070833"/>
            <a:ext cx="3488043" cy="3492406"/>
          </a:xfrm>
          <a:solidFill>
            <a:srgbClr val="243A5E"/>
          </a:solidFill>
        </p:spPr>
        <p:txBody>
          <a:bodyPr tIns="64008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2857097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9172354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68785" y="4765022"/>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22179" y="4765022"/>
            <a:ext cx="2537494"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6803"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30974" y="4765603"/>
            <a:ext cx="2537495" cy="1586721"/>
          </a:xfrm>
          <a:prstGeom prst="rect">
            <a:avLst/>
          </a:prstGeom>
        </p:spPr>
        <p:txBody>
          <a:bodyPr>
            <a:noAutofit/>
          </a:bodyPr>
          <a:lstStyle>
            <a:lvl1pPr marL="0" indent="0" algn="ctr">
              <a:spcBef>
                <a:spcPts val="0"/>
              </a:spcBef>
              <a:buNone/>
              <a:defRPr sz="204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68785" y="2065976"/>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522179" y="2070833"/>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385020"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236936" y="2065522"/>
            <a:ext cx="2537494" cy="2540373"/>
          </a:xfrm>
          <a:solidFill>
            <a:srgbClr val="243A5E"/>
          </a:solidFill>
        </p:spPr>
        <p:txBody>
          <a:bodyPr tIns="36576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224"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7592877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776556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68785" y="1465289"/>
            <a:ext cx="7325861" cy="4928550"/>
          </a:xfrm>
          <a:solidFill>
            <a:srgbClr val="243A5E"/>
          </a:solidFill>
        </p:spPr>
        <p:txBody>
          <a:bodyPr tIns="1005840" anchor="t">
            <a:noAutofit/>
          </a:bodyPr>
          <a:lstStyle>
            <a:lvl1pPr marL="0" marR="0" indent="0" algn="ctr" defTabSz="951248" rtl="0" eaLnBrk="1" fontAlgn="auto" latinLnBrk="0" hangingPunct="1">
              <a:lnSpc>
                <a:spcPct val="300000"/>
              </a:lnSpc>
              <a:spcBef>
                <a:spcPts val="2040"/>
              </a:spcBef>
              <a:spcAft>
                <a:spcPts val="0"/>
              </a:spcAft>
              <a:buClr>
                <a:schemeClr val="tx1"/>
              </a:buClr>
              <a:buSzPct val="90000"/>
              <a:buFont typeface="Wingdings" panose="05000000000000000000" pitchFamily="2" charset="2"/>
              <a:buNone/>
              <a:tabLst/>
              <a:defRPr lang="en-US" sz="1632"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51248" rtl="0" eaLnBrk="1" fontAlgn="auto" latinLnBrk="0" hangingPunct="1">
              <a:lnSpc>
                <a:spcPct val="100000"/>
              </a:lnSpc>
              <a:spcBef>
                <a:spcPts val="685"/>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278029" y="1465290"/>
            <a:ext cx="3489661" cy="4928550"/>
          </a:xfrm>
        </p:spPr>
        <p:txBody>
          <a:bodyPr/>
          <a:lstStyle>
            <a:lvl1pPr marL="0" indent="0">
              <a:buNone/>
              <a:defRPr sz="2040">
                <a:latin typeface="Segoe UI Semibold" panose="020B0702040204020203" pitchFamily="34" charset="0"/>
                <a:cs typeface="Segoe UI Semibold" panose="020B0702040204020203" pitchFamily="34" charset="0"/>
              </a:defRPr>
            </a:lvl1pPr>
            <a:lvl2pPr marL="171624" indent="-171624">
              <a:defRPr sz="1836"/>
            </a:lvl2pPr>
            <a:lvl3pPr marL="0" indent="0">
              <a:buNone/>
              <a:defRPr sz="1836"/>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5757497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68786" y="326411"/>
            <a:ext cx="6870828" cy="470856"/>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68784" y="802038"/>
            <a:ext cx="6870829"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772797" y="0"/>
            <a:ext cx="4663678" cy="6994525"/>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40" dirty="0">
                <a:gradFill>
                  <a:gsLst>
                    <a:gs pos="0">
                      <a:srgbClr val="FFFFFF"/>
                    </a:gs>
                    <a:gs pos="100000">
                      <a:srgbClr val="FFFFFF"/>
                    </a:gs>
                  </a:gsLst>
                  <a:lin ang="5400000" scaled="0"/>
                </a:gradFill>
                <a:ea typeface="Segoe UI" pitchFamily="34" charset="0"/>
              </a:defRPr>
            </a:lvl1pPr>
          </a:lstStyle>
          <a:p>
            <a:pPr marL="0" lvl="0" defTabSz="951028"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68785" y="1424812"/>
            <a:ext cx="6870827" cy="4947979"/>
          </a:xfrm>
        </p:spPr>
        <p:txBody>
          <a:bodyPr/>
          <a:lstStyle>
            <a:lvl1pPr marL="0" indent="0">
              <a:buNone/>
              <a:defRPr sz="2448">
                <a:latin typeface="Segoe UI Semibold" panose="020B0702040204020203" pitchFamily="34" charset="0"/>
                <a:cs typeface="Segoe UI Semibold" panose="020B0702040204020203" pitchFamily="34" charset="0"/>
              </a:defRPr>
            </a:lvl1pPr>
            <a:lvl2pPr marL="641160" indent="-349724">
              <a:defRPr sz="2040"/>
            </a:lvl2pPr>
            <a:lvl3pPr marL="0" indent="0">
              <a:buNone/>
              <a:defRPr sz="2448"/>
            </a:lvl3pPr>
            <a:lvl4pPr>
              <a:defRPr sz="1224"/>
            </a:lvl4pPr>
            <a:lvl5pPr>
              <a:defRPr sz="1224"/>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39295229"/>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68784" y="642785"/>
            <a:ext cx="3178751" cy="5708957"/>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6153941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68461" y="643496"/>
            <a:ext cx="3177105" cy="5708244"/>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474022"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108995" y="642785"/>
            <a:ext cx="6658696" cy="5708957"/>
          </a:xfrm>
          <a:prstGeom prst="rect">
            <a:avLst/>
          </a:prstGeom>
        </p:spPr>
        <p:txBody>
          <a:bodyPr anchor="ctr" anchorCtr="0">
            <a:noAutofit/>
          </a:bodyPr>
          <a:lstStyle>
            <a:lvl1pPr marL="466298" indent="-466298">
              <a:spcAft>
                <a:spcPts val="1224"/>
              </a:spcAft>
              <a:buFont typeface="Arial" panose="020B0604020202020204" pitchFamily="34" charset="0"/>
              <a:buChar char="•"/>
              <a:defRPr sz="2448"/>
            </a:lvl1pPr>
            <a:lvl2pPr marL="0" indent="0">
              <a:buNone/>
              <a:defRPr sz="2448"/>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2083610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36795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68786" y="802038"/>
            <a:ext cx="11098906" cy="470856"/>
          </a:xfrm>
          <a:prstGeom prst="rect">
            <a:avLst/>
          </a:prstGeom>
        </p:spPr>
        <p:txBody>
          <a:bodyPr>
            <a:normAutofit/>
          </a:bodyPr>
          <a:lstStyle>
            <a:lvl1pPr marL="0" indent="0" algn="l" defTabSz="951248">
              <a:lnSpc>
                <a:spcPct val="100000"/>
              </a:lnSpc>
              <a:spcBef>
                <a:spcPts val="685"/>
              </a:spcBef>
              <a:buFontTx/>
              <a:buNone/>
              <a:defRPr sz="2040" baseline="0">
                <a:solidFill>
                  <a:schemeClr val="tx1"/>
                </a:solidFill>
              </a:defRPr>
            </a:lvl1pPr>
            <a:lvl2pPr marL="0" indent="0" algn="l" defTabSz="951248">
              <a:lnSpc>
                <a:spcPct val="100000"/>
              </a:lnSpc>
              <a:spcBef>
                <a:spcPts val="685"/>
              </a:spcBef>
              <a:buFontTx/>
              <a:buNone/>
              <a:defRPr sz="2244" baseline="0">
                <a:solidFill>
                  <a:schemeClr val="tx1"/>
                </a:solidFill>
              </a:defRPr>
            </a:lvl2pPr>
            <a:lvl3pPr marL="0" indent="0" algn="l" defTabSz="951248">
              <a:lnSpc>
                <a:spcPct val="100000"/>
              </a:lnSpc>
              <a:spcBef>
                <a:spcPts val="685"/>
              </a:spcBef>
              <a:buFontTx/>
              <a:buNone/>
              <a:defRPr sz="2244" baseline="0">
                <a:solidFill>
                  <a:schemeClr val="tx1"/>
                </a:solidFill>
              </a:defRPr>
            </a:lvl3pPr>
            <a:lvl4pPr marL="0" indent="0" algn="l" defTabSz="951248">
              <a:lnSpc>
                <a:spcPct val="100000"/>
              </a:lnSpc>
              <a:spcBef>
                <a:spcPts val="685"/>
              </a:spcBef>
              <a:buFontTx/>
              <a:buNone/>
              <a:defRPr sz="2244" baseline="0">
                <a:solidFill>
                  <a:schemeClr val="tx1"/>
                </a:solidFill>
              </a:defRPr>
            </a:lvl4pPr>
            <a:lvl5pPr marL="0" indent="0" algn="l">
              <a:lnSpc>
                <a:spcPct val="110000"/>
              </a:lnSpc>
              <a:buNone/>
              <a:defRPr sz="2244" baseline="0">
                <a:solidFill>
                  <a:schemeClr val="tx1"/>
                </a:solidFill>
              </a:defRPr>
            </a:lvl5pPr>
            <a:lvl6pPr marL="0" indent="0" algn="l" defTabSz="951248">
              <a:lnSpc>
                <a:spcPct val="100000"/>
              </a:lnSpc>
              <a:spcBef>
                <a:spcPts val="685"/>
              </a:spcBef>
              <a:buFontTx/>
              <a:buNone/>
              <a:defRPr sz="2244" baseline="0">
                <a:solidFill>
                  <a:schemeClr val="tx1"/>
                </a:solidFill>
              </a:defRPr>
            </a:lvl6pPr>
            <a:lvl7pPr marL="0" indent="0" algn="l" defTabSz="951248">
              <a:lnSpc>
                <a:spcPct val="100000"/>
              </a:lnSpc>
              <a:spcBef>
                <a:spcPts val="685"/>
              </a:spcBef>
              <a:buFontTx/>
              <a:buNone/>
              <a:defRPr sz="2244" baseline="0">
                <a:solidFill>
                  <a:schemeClr val="tx1"/>
                </a:solidFill>
              </a:defRPr>
            </a:lvl7pPr>
            <a:lvl8pPr marL="0" indent="0" algn="l" defTabSz="951248">
              <a:lnSpc>
                <a:spcPct val="100000"/>
              </a:lnSpc>
              <a:spcBef>
                <a:spcPts val="685"/>
              </a:spcBef>
              <a:buFontTx/>
              <a:buNone/>
              <a:defRPr sz="2244" baseline="0">
                <a:solidFill>
                  <a:schemeClr val="tx1"/>
                </a:solidFill>
              </a:defRPr>
            </a:lvl8pPr>
            <a:lvl9pPr marL="0" indent="0" algn="l" defTabSz="951248">
              <a:lnSpc>
                <a:spcPct val="100000"/>
              </a:lnSpc>
              <a:spcBef>
                <a:spcPts val="685"/>
              </a:spcBef>
              <a:buFontTx/>
              <a:buNone/>
              <a:defRPr sz="2244"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68785" y="1465289"/>
            <a:ext cx="11098907" cy="4886453"/>
          </a:xfrm>
          <a:prstGeom prst="rect">
            <a:avLst/>
          </a:prstGeom>
        </p:spPr>
        <p:txBody>
          <a:bodyPr/>
          <a:lstStyle>
            <a:lvl1pPr marL="0"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72486" indent="0">
              <a:spcBef>
                <a:spcPts val="337"/>
              </a:spcBef>
              <a:buFontTx/>
              <a:buNone/>
              <a:defRPr sz="1836" baseline="0">
                <a:solidFill>
                  <a:schemeClr val="tx1"/>
                </a:solidFill>
                <a:latin typeface="Comic Sans MS" panose="030F0702030302020204" pitchFamily="66" charset="0"/>
              </a:defRPr>
            </a:lvl6pPr>
            <a:lvl7pPr marL="1072486" indent="0">
              <a:spcBef>
                <a:spcPts val="337"/>
              </a:spcBef>
              <a:buFontTx/>
              <a:buNone/>
              <a:defRPr sz="1836" baseline="0">
                <a:solidFill>
                  <a:schemeClr val="tx1"/>
                </a:solidFill>
                <a:latin typeface="Comic Sans MS" panose="030F0702030302020204" pitchFamily="66" charset="0"/>
              </a:defRPr>
            </a:lvl7pPr>
            <a:lvl8pPr marL="1072486" indent="0">
              <a:spcBef>
                <a:spcPts val="337"/>
              </a:spcBef>
              <a:buFontTx/>
              <a:buNone/>
              <a:defRPr sz="1836" baseline="0">
                <a:solidFill>
                  <a:schemeClr val="tx1"/>
                </a:solidFill>
                <a:latin typeface="Comic Sans MS" panose="030F0702030302020204" pitchFamily="66" charset="0"/>
              </a:defRPr>
            </a:lvl8pPr>
            <a:lvl9pPr marL="1072486" indent="0">
              <a:spcBef>
                <a:spcPts val="337"/>
              </a:spcBef>
              <a:buFontTx/>
              <a:buNone/>
              <a:defRPr sz="1836"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693625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951283"/>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617926"/>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33185" y="369155"/>
            <a:ext cx="12047835" cy="6081351"/>
          </a:xfrm>
          <a:prstGeom prst="rect">
            <a:avLst/>
          </a:prstGeom>
        </p:spPr>
        <p:txBody>
          <a:bodyPr vert="horz" lIns="93247" tIns="46623" rIns="93247" bIns="46623" rtlCol="0">
            <a:normAutofit fontScale="775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46" b="1">
                <a:solidFill>
                  <a:srgbClr val="000000"/>
                </a:solidFill>
              </a:rPr>
              <a:t>Conditions and Terms of Use</a:t>
            </a:r>
          </a:p>
          <a:p>
            <a:r>
              <a:rPr lang="en-US" sz="1530">
                <a:solidFill>
                  <a:srgbClr val="0A5BBA"/>
                </a:solidFill>
              </a:rPr>
              <a:t>Microsoft Confidential</a:t>
            </a:r>
          </a:p>
          <a:p>
            <a:r>
              <a:rPr lang="en-US" sz="1836">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36">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36">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36">
              <a:solidFill>
                <a:srgbClr val="000000"/>
              </a:solidFill>
            </a:endParaRPr>
          </a:p>
          <a:p>
            <a:r>
              <a:rPr lang="en-US" sz="2346" b="1">
                <a:solidFill>
                  <a:srgbClr val="000000"/>
                </a:solidFill>
              </a:rPr>
              <a:t>Copyright and Trademarks </a:t>
            </a:r>
          </a:p>
          <a:p>
            <a:r>
              <a:rPr lang="en-US" sz="1530">
                <a:solidFill>
                  <a:srgbClr val="0A5BBA"/>
                </a:solidFill>
              </a:rPr>
              <a:t>© 2020 Microsoft Corporation. All rights reserved.</a:t>
            </a:r>
          </a:p>
          <a:p>
            <a:r>
              <a:rPr lang="en-US" sz="1836">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36">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36">
                <a:solidFill>
                  <a:srgbClr val="000000"/>
                </a:solidFill>
              </a:rPr>
              <a:t>For more information, see </a:t>
            </a:r>
            <a:r>
              <a:rPr lang="en-US" sz="1836" b="1">
                <a:solidFill>
                  <a:srgbClr val="000000"/>
                </a:solidFill>
              </a:rPr>
              <a:t>Use of Microsoft Copyrighted Content </a:t>
            </a:r>
            <a:r>
              <a:rPr lang="en-US" sz="1836">
                <a:solidFill>
                  <a:srgbClr val="000000"/>
                </a:solidFill>
              </a:rPr>
              <a:t>at</a:t>
            </a:r>
            <a:br>
              <a:rPr lang="en-US" sz="1836">
                <a:solidFill>
                  <a:srgbClr val="000000"/>
                </a:solidFill>
              </a:rPr>
            </a:br>
            <a:r>
              <a:rPr lang="en-US" sz="1836">
                <a:solidFill>
                  <a:srgbClr val="FF0000"/>
                </a:solidFill>
                <a:hlinkClick r:id="rId2"/>
              </a:rPr>
              <a:t>https://www.microsoft.com/en-us/legal/intellectualproperty/permissions/default.aspx</a:t>
            </a:r>
            <a:r>
              <a:rPr lang="en-US" sz="1836">
                <a:solidFill>
                  <a:srgbClr val="FF0000"/>
                </a:solidFill>
              </a:rPr>
              <a:t> </a:t>
            </a:r>
          </a:p>
          <a:p>
            <a:r>
              <a:rPr lang="en-US" sz="1836">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89369913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68460" y="6238939"/>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922" y="310868"/>
            <a:ext cx="2104562" cy="943146"/>
          </a:xfrm>
          <a:prstGeom prst="rect">
            <a:avLst/>
          </a:prstGeom>
        </p:spPr>
      </p:pic>
    </p:spTree>
    <p:extLst>
      <p:ext uri="{BB962C8B-B14F-4D97-AF65-F5344CB8AC3E}">
        <p14:creationId xmlns:p14="http://schemas.microsoft.com/office/powerpoint/2010/main" val="2361039446"/>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68786" y="1465289"/>
            <a:ext cx="11098906" cy="4928549"/>
          </a:xfrm>
          <a:prstGeom prst="rect">
            <a:avLst/>
          </a:prstGeom>
        </p:spPr>
        <p:txBody>
          <a:bodyPr wrap="square">
            <a:noAutofit/>
          </a:bodyPr>
          <a:lstStyle>
            <a:lvl1pPr>
              <a:defRPr sz="2448">
                <a:latin typeface="+mn-lt"/>
              </a:defRPr>
            </a:lvl1pPr>
            <a:lvl2pPr>
              <a:defRPr sz="2040">
                <a:latin typeface="+mn-lt"/>
              </a:defRPr>
            </a:lvl2pPr>
            <a:lvl3pPr>
              <a:defRPr sz="1836">
                <a:latin typeface="+mn-lt"/>
              </a:defRPr>
            </a:lvl3pPr>
            <a:lvl4pPr>
              <a:defRPr sz="1632">
                <a:latin typeface="+mn-lt"/>
              </a:defRPr>
            </a:lvl4pPr>
            <a:lvl5pPr>
              <a:defRPr sz="1428">
                <a:latin typeface="+mn-lt"/>
              </a:defRPr>
            </a:lvl5pPr>
            <a:lvl6pPr marL="1044508" indent="-167867">
              <a:spcBef>
                <a:spcPts val="337"/>
              </a:spcBef>
              <a:defRPr sz="1836" baseline="0"/>
            </a:lvl6pPr>
            <a:lvl7pPr marL="1044508" indent="-167867">
              <a:spcBef>
                <a:spcPts val="337"/>
              </a:spcBef>
              <a:defRPr sz="1836" baseline="0"/>
            </a:lvl7pPr>
            <a:lvl8pPr marL="1044508" indent="-167867">
              <a:spcBef>
                <a:spcPts val="337"/>
              </a:spcBef>
              <a:defRPr sz="1836" baseline="0"/>
            </a:lvl8pPr>
            <a:lvl9pPr marL="1044508" indent="-167867">
              <a:spcBef>
                <a:spcPts val="337"/>
              </a:spcBef>
              <a:defRPr sz="1836"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490742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09A250-FF31-4206-8172-F9D3106AACB1}" type="datetimeFigureOut">
              <a:rPr lang="en-US" dirty="0"/>
              <a:t>2/1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a:p>
        </p:txBody>
      </p:sp>
    </p:spTree>
    <p:extLst>
      <p:ext uri="{BB962C8B-B14F-4D97-AF65-F5344CB8AC3E}">
        <p14:creationId xmlns:p14="http://schemas.microsoft.com/office/powerpoint/2010/main" val="24970946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7"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p:nvPr>
        </p:nvSpPr>
        <p:spPr>
          <a:xfrm>
            <a:off x="434977" y="227014"/>
            <a:ext cx="5667375" cy="773112"/>
          </a:xfrm>
          <a:prstGeom prst="rect">
            <a:avLst/>
          </a:prstGeom>
        </p:spPr>
        <p:txBody>
          <a:bodyPr vert="horz" wrap="square" lIns="0" tIns="164592" rIns="0" bIns="0" rtlCol="0" anchor="t">
            <a:noAutofit/>
          </a:bodyPr>
          <a:lstStyle>
            <a:lvl1pPr>
              <a:defRPr sz="3468"/>
            </a:lvl1pPr>
          </a:lstStyle>
          <a:p>
            <a:endParaRPr lang="en-US"/>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1152408"/>
            <a:ext cx="5667374" cy="2624741"/>
          </a:xfrm>
        </p:spPr>
        <p:txBody>
          <a:bodyPr wrap="square" lIns="0" tIns="0" rIns="0" bIns="0">
            <a:noAutofit/>
          </a:bodyPr>
          <a:lstStyle>
            <a:lvl1pPr marL="0" marR="0" indent="0" algn="l" defTabSz="932384" rtl="0" eaLnBrk="1" fontAlgn="auto" latinLnBrk="0" hangingPunct="1">
              <a:lnSpc>
                <a:spcPct val="90000"/>
              </a:lnSpc>
              <a:spcBef>
                <a:spcPts val="0"/>
              </a:spcBef>
              <a:spcAft>
                <a:spcPts val="2600"/>
              </a:spcAft>
              <a:buClrTx/>
              <a:buSzPct val="90000"/>
              <a:buFont typeface="Wingdings" panose="05000000000000000000" pitchFamily="2" charset="2"/>
              <a:buNone/>
              <a:tabLst/>
              <a:defRPr sz="2448" b="0" i="0">
                <a:solidFill>
                  <a:srgbClr val="000000"/>
                </a:solidFill>
                <a:latin typeface="+mn-lt"/>
              </a:defRPr>
            </a:lvl1pPr>
            <a:lvl2pPr marL="228513" marR="0" indent="0" algn="l" defTabSz="93238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024" indent="0">
              <a:buNone/>
              <a:defRPr/>
            </a:lvl3pPr>
            <a:lvl4pPr marL="685537" indent="0">
              <a:buNone/>
              <a:defRPr/>
            </a:lvl4pPr>
            <a:lvl5pPr marL="914049" indent="0">
              <a:buNone/>
              <a:defRPr/>
            </a:lvl5pPr>
          </a:lstStyle>
          <a:p>
            <a:pPr lvl="0"/>
            <a:r>
              <a:rPr lang="pt-BR"/>
              <a:t>Subhead Segoe UI 24pt</a:t>
            </a:r>
          </a:p>
          <a:p>
            <a:pPr lvl="0"/>
            <a:r>
              <a:rPr lang="pt-BR"/>
              <a:t>Subhead Segoe UI 24pt</a:t>
            </a:r>
          </a:p>
          <a:p>
            <a:pPr lvl="0"/>
            <a:r>
              <a:rPr lang="pt-BR"/>
              <a:t>Subhead Segoe UI 24pt</a:t>
            </a:r>
          </a:p>
        </p:txBody>
      </p:sp>
    </p:spTree>
    <p:extLst>
      <p:ext uri="{BB962C8B-B14F-4D97-AF65-F5344CB8AC3E}">
        <p14:creationId xmlns:p14="http://schemas.microsoft.com/office/powerpoint/2010/main" val="3600944938"/>
      </p:ext>
    </p:extLst>
  </p:cSld>
  <p:clrMapOvr>
    <a:masterClrMapping/>
  </p:clrMapOvr>
  <p:transition>
    <p:fade/>
  </p:transition>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4930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599886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sz="3468">
                <a:solidFill>
                  <a:schemeClr val="tx2"/>
                </a:solidFill>
              </a:defRPr>
            </a:lvl1pPr>
          </a:lstStyle>
          <a:p>
            <a:r>
              <a:rPr lang="en-US"/>
              <a:t>Title</a:t>
            </a:r>
          </a:p>
        </p:txBody>
      </p:sp>
    </p:spTree>
    <p:extLst>
      <p:ext uri="{BB962C8B-B14F-4D97-AF65-F5344CB8AC3E}">
        <p14:creationId xmlns:p14="http://schemas.microsoft.com/office/powerpoint/2010/main" val="138873596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8247" y="0"/>
            <a:ext cx="12434704" cy="6994521"/>
          </a:xfrm>
          <a:prstGeom prst="rect">
            <a:avLst/>
          </a:prstGeom>
        </p:spPr>
      </p:pic>
      <p:sp>
        <p:nvSpPr>
          <p:cNvPr id="2" name="Rectangle 1"/>
          <p:cNvSpPr/>
          <p:nvPr userDrawn="1"/>
        </p:nvSpPr>
        <p:spPr bwMode="auto">
          <a:xfrm>
            <a:off x="274638" y="2119163"/>
            <a:ext cx="6400800" cy="36640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479425"/>
            <a:ext cx="1828800" cy="391754"/>
          </a:xfrm>
          <a:prstGeom prst="rect">
            <a:avLst/>
          </a:prstGeom>
        </p:spPr>
      </p:pic>
      <p:sp>
        <p:nvSpPr>
          <p:cNvPr id="10" name="Text Placeholder 2"/>
          <p:cNvSpPr txBox="1">
            <a:spLocks/>
          </p:cNvSpPr>
          <p:nvPr userDrawn="1"/>
        </p:nvSpPr>
        <p:spPr bwMode="auto">
          <a:xfrm>
            <a:off x="278781" y="6240432"/>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2842582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1924"/>
            <a:ext cx="1828800" cy="391754"/>
          </a:xfrm>
          <a:prstGeom prst="rect">
            <a:avLst/>
          </a:prstGeom>
        </p:spPr>
      </p:pic>
      <p:sp>
        <p:nvSpPr>
          <p:cNvPr id="6"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a:t>Microsoft Services</a:t>
            </a:r>
            <a:endParaRPr lang="en-US" sz="2400">
              <a:latin typeface="Segoe UI"/>
            </a:endParaRPr>
          </a:p>
        </p:txBody>
      </p:sp>
    </p:spTree>
    <p:extLst>
      <p:ext uri="{BB962C8B-B14F-4D97-AF65-F5344CB8AC3E}">
        <p14:creationId xmlns:p14="http://schemas.microsoft.com/office/powerpoint/2010/main" val="3968250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11879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527390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383495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117946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773210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image" Target="../media/image1.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50" Type="http://schemas.openxmlformats.org/officeDocument/2006/relationships/tags" Target="../tags/tag1.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3" Type="http://schemas.openxmlformats.org/officeDocument/2006/relationships/image" Target="../media/image7.emf"/><Relationship Id="rId5" Type="http://schemas.openxmlformats.org/officeDocument/2006/relationships/slideLayout" Target="../slideLayouts/slideLayout49.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tags" Target="../tags/tag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8" Type="http://schemas.openxmlformats.org/officeDocument/2006/relationships/slideLayout" Target="../slideLayouts/slideLayout52.xml"/><Relationship Id="rId51" Type="http://schemas.openxmlformats.org/officeDocument/2006/relationships/tags" Target="../tags/tag2.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20" Type="http://schemas.openxmlformats.org/officeDocument/2006/relationships/slideLayout" Target="../slideLayouts/slideLayout64.xml"/><Relationship Id="rId41" Type="http://schemas.openxmlformats.org/officeDocument/2006/relationships/slideLayout" Target="../slideLayouts/slideLayout85.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theme" Target="../theme/theme4.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slideLayout" Target="../slideLayouts/slideLayout159.xml"/><Relationship Id="rId47" Type="http://schemas.openxmlformats.org/officeDocument/2006/relationships/slideLayout" Target="../slideLayouts/slideLayout164.xml"/><Relationship Id="rId50" Type="http://schemas.openxmlformats.org/officeDocument/2006/relationships/tags" Target="../tags/tag4.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9" Type="http://schemas.openxmlformats.org/officeDocument/2006/relationships/slideLayout" Target="../slideLayouts/slideLayout146.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slideLayout" Target="../slideLayouts/slideLayout162.xml"/><Relationship Id="rId53" Type="http://schemas.openxmlformats.org/officeDocument/2006/relationships/image" Target="../media/image7.emf"/><Relationship Id="rId5" Type="http://schemas.openxmlformats.org/officeDocument/2006/relationships/slideLayout" Target="../slideLayouts/slideLayout122.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4" Type="http://schemas.openxmlformats.org/officeDocument/2006/relationships/slideLayout" Target="../slideLayouts/slideLayout161.xml"/><Relationship Id="rId52" Type="http://schemas.openxmlformats.org/officeDocument/2006/relationships/tags" Target="../tags/tag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48" Type="http://schemas.openxmlformats.org/officeDocument/2006/relationships/slideLayout" Target="../slideLayouts/slideLayout165.xml"/><Relationship Id="rId8" Type="http://schemas.openxmlformats.org/officeDocument/2006/relationships/slideLayout" Target="../slideLayouts/slideLayout125.xml"/><Relationship Id="rId51" Type="http://schemas.openxmlformats.org/officeDocument/2006/relationships/tags" Target="../tags/tag5.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46" Type="http://schemas.openxmlformats.org/officeDocument/2006/relationships/slideLayout" Target="../slideLayouts/slideLayout163.xml"/><Relationship Id="rId20" Type="http://schemas.openxmlformats.org/officeDocument/2006/relationships/slideLayout" Target="../slideLayouts/slideLayout137.xml"/><Relationship Id="rId41" Type="http://schemas.openxmlformats.org/officeDocument/2006/relationships/slideLayout" Target="../slideLayouts/slideLayout158.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4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54"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8651976"/>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 id="2147484282" r:id="rId12"/>
    <p:sldLayoutId id="2147484283" r:id="rId13"/>
    <p:sldLayoutId id="2147484284" r:id="rId14"/>
    <p:sldLayoutId id="2147484285" r:id="rId15"/>
    <p:sldLayoutId id="2147484286" r:id="rId16"/>
    <p:sldLayoutId id="2147484287" r:id="rId17"/>
    <p:sldLayoutId id="2147484288" r:id="rId18"/>
    <p:sldLayoutId id="2147484289" r:id="rId19"/>
    <p:sldLayoutId id="2147484290" r:id="rId20"/>
    <p:sldLayoutId id="2147484291" r:id="rId21"/>
    <p:sldLayoutId id="2147484292" r:id="rId22"/>
    <p:sldLayoutId id="2147484293" r:id="rId23"/>
    <p:sldLayoutId id="2147484294" r:id="rId24"/>
    <p:sldLayoutId id="2147484295" r:id="rId25"/>
    <p:sldLayoutId id="2147484296" r:id="rId26"/>
    <p:sldLayoutId id="2147484297" r:id="rId27"/>
    <p:sldLayoutId id="2147484298" r:id="rId28"/>
    <p:sldLayoutId id="2147484299" r:id="rId29"/>
    <p:sldLayoutId id="2147484300" r:id="rId30"/>
    <p:sldLayoutId id="2147484301" r:id="rId31"/>
    <p:sldLayoutId id="2147484302" r:id="rId32"/>
    <p:sldLayoutId id="2147484303" r:id="rId33"/>
    <p:sldLayoutId id="2147484304" r:id="rId34"/>
    <p:sldLayoutId id="2147484305" r:id="rId35"/>
    <p:sldLayoutId id="2147484306" r:id="rId36"/>
    <p:sldLayoutId id="2147484307" r:id="rId37"/>
    <p:sldLayoutId id="2147484308" r:id="rId38"/>
    <p:sldLayoutId id="2147484309" r:id="rId39"/>
    <p:sldLayoutId id="2147484310" r:id="rId40"/>
    <p:sldLayoutId id="2147484311" r:id="rId41"/>
    <p:sldLayoutId id="2147484312" r:id="rId42"/>
    <p:sldLayoutId id="2147484313" r:id="rId43"/>
    <p:sldLayoutId id="2147484314" r:id="rId44"/>
    <p:sldLayoutId id="2147484315" r:id="rId45"/>
    <p:sldLayoutId id="2147484316" r:id="rId46"/>
    <p:sldLayoutId id="2147484317" r:id="rId47"/>
    <p:sldLayoutId id="2147484318" r:id="rId48"/>
  </p:sldLayoutIdLst>
  <p:txStyles>
    <p:title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5224991"/>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 id="2147484336" r:id="rId15"/>
    <p:sldLayoutId id="2147484337" r:id="rId16"/>
    <p:sldLayoutId id="2147484338" r:id="rId17"/>
    <p:sldLayoutId id="2147484339" r:id="rId18"/>
    <p:sldLayoutId id="2147484340" r:id="rId19"/>
    <p:sldLayoutId id="2147484341" r:id="rId20"/>
    <p:sldLayoutId id="2147484342" r:id="rId21"/>
    <p:sldLayoutId id="2147484343" r:id="rId22"/>
    <p:sldLayoutId id="2147484344" r:id="rId23"/>
    <p:sldLayoutId id="2147484345" r:id="rId24"/>
    <p:sldLayoutId id="2147484346"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68786" y="326411"/>
            <a:ext cx="11098906" cy="470856"/>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68786" y="1436145"/>
            <a:ext cx="11098906" cy="491559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3"/>
          <a:srcRect l="762"/>
          <a:stretch/>
        </p:blipFill>
        <p:spPr>
          <a:xfrm rot="5400000">
            <a:off x="9600625" y="2909627"/>
            <a:ext cx="6994525" cy="119392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lvl="0" algn="l" defTabSz="951028" fontAlgn="base">
              <a:spcBef>
                <a:spcPct val="0"/>
              </a:spcBef>
              <a:spcAft>
                <a:spcPct val="0"/>
              </a:spcAft>
            </a:pPr>
            <a:endParaRPr lang="de-DE" sz="204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8543" tIns="158543" rIns="158543" bIns="158543"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02743908"/>
      </p:ext>
    </p:extLst>
  </p:cSld>
  <p:clrMap bg1="lt1" tx1="dk1" bg2="lt2" tx2="dk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 id="2147484382" r:id="rId14"/>
    <p:sldLayoutId id="2147484383" r:id="rId15"/>
    <p:sldLayoutId id="2147484384" r:id="rId16"/>
    <p:sldLayoutId id="2147484385" r:id="rId17"/>
    <p:sldLayoutId id="2147484386" r:id="rId18"/>
    <p:sldLayoutId id="2147484387" r:id="rId19"/>
    <p:sldLayoutId id="2147484388" r:id="rId20"/>
    <p:sldLayoutId id="2147484389" r:id="rId21"/>
    <p:sldLayoutId id="2147484390" r:id="rId22"/>
    <p:sldLayoutId id="2147484391" r:id="rId23"/>
    <p:sldLayoutId id="2147484392" r:id="rId24"/>
    <p:sldLayoutId id="2147484393" r:id="rId25"/>
    <p:sldLayoutId id="2147484394" r:id="rId26"/>
    <p:sldLayoutId id="2147484395" r:id="rId27"/>
    <p:sldLayoutId id="2147484396" r:id="rId28"/>
    <p:sldLayoutId id="2147484397" r:id="rId29"/>
    <p:sldLayoutId id="2147484398" r:id="rId30"/>
    <p:sldLayoutId id="2147484399" r:id="rId31"/>
    <p:sldLayoutId id="2147484400" r:id="rId32"/>
    <p:sldLayoutId id="2147484401" r:id="rId33"/>
    <p:sldLayoutId id="2147484402" r:id="rId34"/>
    <p:sldLayoutId id="2147484403" r:id="rId35"/>
    <p:sldLayoutId id="2147484404" r:id="rId36"/>
    <p:sldLayoutId id="2147484405" r:id="rId37"/>
    <p:sldLayoutId id="2147484406" r:id="rId38"/>
    <p:sldLayoutId id="2147484407" r:id="rId39"/>
    <p:sldLayoutId id="2147484408" r:id="rId40"/>
    <p:sldLayoutId id="2147484409" r:id="rId41"/>
    <p:sldLayoutId id="2147484410" r:id="rId42"/>
    <p:sldLayoutId id="2147484411" r:id="rId43"/>
    <p:sldLayoutId id="2147484412" r:id="rId44"/>
    <p:sldLayoutId id="2147484413" r:id="rId45"/>
    <p:sldLayoutId id="2147484414" r:id="rId46"/>
    <p:sldLayoutId id="2147484415" r:id="rId47"/>
    <p:sldLayoutId id="2147484416" r:id="rId48"/>
  </p:sldLayoutIdLst>
  <p:txStyles>
    <p:titleStyle>
      <a:lvl1pPr algn="l" defTabSz="951304" rtl="0" eaLnBrk="1" latinLnBrk="0" hangingPunct="1">
        <a:lnSpc>
          <a:spcPts val="3692"/>
        </a:lnSpc>
        <a:spcBef>
          <a:spcPct val="0"/>
        </a:spcBef>
        <a:buNone/>
        <a:defRPr lang="en-GB" sz="3264" b="0" kern="1200" cap="none" spc="-51" baseline="0" dirty="0" smtClean="0">
          <a:ln w="3175">
            <a:noFill/>
          </a:ln>
          <a:solidFill>
            <a:schemeClr val="tx1"/>
          </a:solidFill>
          <a:effectLst/>
          <a:latin typeface="+mj-lt"/>
          <a:ea typeface="+mn-ea"/>
          <a:cs typeface="Segoe UI" pitchFamily="34" charset="0"/>
        </a:defRPr>
      </a:lvl1pPr>
    </p:titleStyle>
    <p:bodyStyle>
      <a:lvl1pPr marL="317083" indent="-317083" algn="l" defTabSz="951248" rtl="0" eaLnBrk="1" latinLnBrk="0" hangingPunct="1">
        <a:lnSpc>
          <a:spcPct val="100000"/>
        </a:lnSpc>
        <a:spcBef>
          <a:spcPts val="685"/>
        </a:spcBef>
        <a:buClr>
          <a:schemeClr val="tx1"/>
        </a:buClr>
        <a:buSzPct val="90000"/>
        <a:buFont typeface="Wingdings" panose="05000000000000000000" pitchFamily="2" charset="2"/>
        <a:buChar char=""/>
        <a:defRPr lang="en-US" sz="2448" kern="1200" spc="0" baseline="0" dirty="0" smtClean="0">
          <a:solidFill>
            <a:schemeClr val="tx1"/>
          </a:solidFill>
          <a:latin typeface="+mn-lt"/>
          <a:ea typeface="+mn-ea"/>
          <a:cs typeface="Segoe UI" panose="020B0502040204020203" pitchFamily="34" charset="0"/>
        </a:defRPr>
      </a:lvl1pPr>
      <a:lvl2pPr marL="634166" indent="-317083" algn="l" defTabSz="951248" rtl="0" eaLnBrk="1" latinLnBrk="0" hangingPunct="1">
        <a:lnSpc>
          <a:spcPct val="100000"/>
        </a:lnSpc>
        <a:spcBef>
          <a:spcPts val="490"/>
        </a:spcBef>
        <a:buClr>
          <a:schemeClr val="tx1"/>
        </a:buClr>
        <a:buSzPct val="90000"/>
        <a:buFont typeface="Wingdings" panose="05000000000000000000" pitchFamily="2" charset="2"/>
        <a:buChar char=""/>
        <a:defRPr lang="en-US" sz="2040" kern="1200" spc="0" baseline="0" dirty="0" smtClean="0">
          <a:solidFill>
            <a:schemeClr val="tx1"/>
          </a:solidFill>
          <a:latin typeface="+mn-lt"/>
          <a:ea typeface="+mn-ea"/>
          <a:cs typeface="+mn-cs"/>
        </a:defRPr>
      </a:lvl2pPr>
      <a:lvl3pPr marL="951248" indent="-317083" algn="l" defTabSz="951248" rtl="0" eaLnBrk="1" latinLnBrk="0" hangingPunct="1">
        <a:lnSpc>
          <a:spcPct val="100000"/>
        </a:lnSpc>
        <a:spcBef>
          <a:spcPts val="392"/>
        </a:spcBef>
        <a:buClr>
          <a:schemeClr val="tx1"/>
        </a:buClr>
        <a:buSzPct val="90000"/>
        <a:buFont typeface="Wingdings" panose="05000000000000000000" pitchFamily="2" charset="2"/>
        <a:buChar char=""/>
        <a:defRPr lang="en-US" sz="1632" kern="1200" spc="0" baseline="0" dirty="0" smtClean="0">
          <a:solidFill>
            <a:schemeClr val="tx1"/>
          </a:solidFill>
          <a:latin typeface="+mn-lt"/>
          <a:ea typeface="+mn-ea"/>
          <a:cs typeface="+mn-cs"/>
        </a:defRPr>
      </a:lvl3pPr>
      <a:lvl4pPr marL="1268331" indent="-317083"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4pPr>
      <a:lvl5pPr marL="1585414" indent="-335735" algn="l" defTabSz="951248" rtl="0" eaLnBrk="1" latinLnBrk="0" hangingPunct="1">
        <a:lnSpc>
          <a:spcPct val="100000"/>
        </a:lnSpc>
        <a:spcBef>
          <a:spcPts val="343"/>
        </a:spcBef>
        <a:buClr>
          <a:schemeClr val="tx1"/>
        </a:buClr>
        <a:buSzPct val="90000"/>
        <a:buFont typeface="Wingdings" panose="05000000000000000000" pitchFamily="2" charset="2"/>
        <a:buChar char=""/>
        <a:defRPr lang="en-US" sz="1428" kern="1200" spc="0" baseline="0" dirty="0" smtClean="0">
          <a:solidFill>
            <a:schemeClr val="tx1"/>
          </a:solidFill>
          <a:latin typeface="+mn-lt"/>
          <a:ea typeface="+mn-ea"/>
          <a:cs typeface="+mn-cs"/>
        </a:defRPr>
      </a:lvl5pPr>
      <a:lvl6pPr marL="317083" indent="-317083" algn="l" defTabSz="951248" rtl="0" eaLnBrk="1" latinLnBrk="0" hangingPunct="1">
        <a:lnSpc>
          <a:spcPct val="100000"/>
        </a:lnSpc>
        <a:spcBef>
          <a:spcPts val="490"/>
        </a:spcBef>
        <a:buSzPct val="100000"/>
        <a:buFont typeface="+mj-lt"/>
        <a:buAutoNum type="arabicPeriod"/>
        <a:defRPr sz="2040" kern="1200" baseline="0">
          <a:solidFill>
            <a:schemeClr val="tx1"/>
          </a:solidFill>
          <a:latin typeface="+mn-lt"/>
          <a:ea typeface="+mn-ea"/>
          <a:cs typeface="+mn-cs"/>
        </a:defRPr>
      </a:lvl6pPr>
      <a:lvl7pPr marL="634166" indent="-317083" algn="l" defTabSz="951248" rtl="0" eaLnBrk="1" latinLnBrk="0" hangingPunct="1">
        <a:lnSpc>
          <a:spcPct val="100000"/>
        </a:lnSpc>
        <a:spcBef>
          <a:spcPts val="490"/>
        </a:spcBef>
        <a:buSzPct val="90000"/>
        <a:buFont typeface="+mj-lt"/>
        <a:buAutoNum type="alphaLcPeriod"/>
        <a:defRPr lang="en-US" sz="1632" b="0" i="0" u="none" kern="1200" baseline="0" noProof="0" dirty="0">
          <a:ln>
            <a:noFill/>
          </a:ln>
          <a:solidFill>
            <a:schemeClr val="tx1"/>
          </a:solidFill>
          <a:latin typeface="+mn-lt"/>
          <a:ea typeface="+mn-ea"/>
          <a:cs typeface="Arial" panose="020B0604020202020204" pitchFamily="34" charset="0"/>
        </a:defRPr>
      </a:lvl7pPr>
      <a:lvl8pPr marL="0" indent="0" algn="l" defTabSz="951248" rtl="0" eaLnBrk="1" latinLnBrk="0" hangingPunct="1">
        <a:lnSpc>
          <a:spcPct val="100000"/>
        </a:lnSpc>
        <a:spcBef>
          <a:spcPts val="294"/>
        </a:spcBef>
        <a:buSzPct val="90000"/>
        <a:buFontTx/>
        <a:buNone/>
        <a:defRPr sz="1224" kern="1200" baseline="0">
          <a:solidFill>
            <a:schemeClr val="tx1"/>
          </a:solidFill>
          <a:latin typeface="+mn-lt"/>
          <a:ea typeface="+mn-ea"/>
          <a:cs typeface="+mn-cs"/>
        </a:defRPr>
      </a:lvl8pPr>
      <a:lvl9pPr marL="0" indent="0" algn="l" defTabSz="951248" rtl="0" eaLnBrk="1" latinLnBrk="0" hangingPunct="1">
        <a:lnSpc>
          <a:spcPct val="100000"/>
        </a:lnSpc>
        <a:spcBef>
          <a:spcPts val="245"/>
        </a:spcBef>
        <a:buSzPct val="90000"/>
        <a:buFont typeface="Wingdings" panose="05000000000000000000" pitchFamily="2" charset="2"/>
        <a:buNone/>
        <a:defRPr sz="1020" kern="1200" baseline="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2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3.xml"/></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ustomXml" Target="../../customXml/item10.xml"/><Relationship Id="rId7" Type="http://schemas.openxmlformats.org/officeDocument/2006/relationships/notesSlide" Target="../notesSlides/notesSlide11.xml"/><Relationship Id="rId2" Type="http://schemas.openxmlformats.org/officeDocument/2006/relationships/customXml" Target="../../customXml/item1.xml"/><Relationship Id="rId1" Type="http://schemas.openxmlformats.org/officeDocument/2006/relationships/tags" Target="../tags/tag8.xml"/><Relationship Id="rId6" Type="http://schemas.openxmlformats.org/officeDocument/2006/relationships/slideLayout" Target="../slideLayouts/slideLayout126.xml"/><Relationship Id="rId5" Type="http://schemas.openxmlformats.org/officeDocument/2006/relationships/customXml" Target="../../customXml/item2.xml"/><Relationship Id="rId4" Type="http://schemas.openxmlformats.org/officeDocument/2006/relationships/customXml" Target="../../customXml/item4.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2.xml"/><Relationship Id="rId1" Type="http://schemas.openxmlformats.org/officeDocument/2006/relationships/slideLayout" Target="../slideLayouts/slideLayout12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5.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5.xml"/><Relationship Id="rId1" Type="http://schemas.openxmlformats.org/officeDocument/2006/relationships/slideLayout" Target="../slideLayouts/slideLayout12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6.xml"/><Relationship Id="rId1" Type="http://schemas.openxmlformats.org/officeDocument/2006/relationships/slideLayout" Target="../slideLayouts/slideLayout125.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7.xml"/><Relationship Id="rId1" Type="http://schemas.openxmlformats.org/officeDocument/2006/relationships/slideLayout" Target="../slideLayouts/slideLayout125.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8.xml"/><Relationship Id="rId1" Type="http://schemas.openxmlformats.org/officeDocument/2006/relationships/slideLayout" Target="../slideLayouts/slideLayout125.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13.xml"/><Relationship Id="rId3" Type="http://schemas.openxmlformats.org/officeDocument/2006/relationships/diagramLayout" Target="../diagrams/layout12.xml"/><Relationship Id="rId7" Type="http://schemas.openxmlformats.org/officeDocument/2006/relationships/diagramData" Target="../diagrams/data13.xml"/><Relationship Id="rId2" Type="http://schemas.openxmlformats.org/officeDocument/2006/relationships/diagramData" Target="../diagrams/data12.xml"/><Relationship Id="rId1" Type="http://schemas.openxmlformats.org/officeDocument/2006/relationships/slideLayout" Target="../slideLayouts/slideLayout125.xml"/><Relationship Id="rId6" Type="http://schemas.microsoft.com/office/2007/relationships/diagramDrawing" Target="../diagrams/drawing12.xml"/><Relationship Id="rId11" Type="http://schemas.microsoft.com/office/2007/relationships/diagramDrawing" Target="../diagrams/drawing13.xml"/><Relationship Id="rId5" Type="http://schemas.openxmlformats.org/officeDocument/2006/relationships/diagramColors" Target="../diagrams/colors12.xml"/><Relationship Id="rId10" Type="http://schemas.openxmlformats.org/officeDocument/2006/relationships/diagramColors" Target="../diagrams/colors13.xml"/><Relationship Id="rId4" Type="http://schemas.openxmlformats.org/officeDocument/2006/relationships/diagramQuickStyle" Target="../diagrams/quickStyle12.xml"/><Relationship Id="rId9" Type="http://schemas.openxmlformats.org/officeDocument/2006/relationships/diagramQuickStyle" Target="../diagrams/quickStyle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5.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0.xml"/><Relationship Id="rId1" Type="http://schemas.openxmlformats.org/officeDocument/2006/relationships/slideLayout" Target="../slideLayouts/slideLayout125.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2.xml.rels><?xml version="1.0" encoding="UTF-8" standalone="yes"?>
<Relationships xmlns="http://schemas.openxmlformats.org/package/2006/relationships"><Relationship Id="rId8" Type="http://schemas.openxmlformats.org/officeDocument/2006/relationships/diagramData" Target="../diagrams/data16.xml"/><Relationship Id="rId13" Type="http://schemas.openxmlformats.org/officeDocument/2006/relationships/diagramData" Target="../diagrams/data17.xml"/><Relationship Id="rId18" Type="http://schemas.openxmlformats.org/officeDocument/2006/relationships/diagramData" Target="../diagrams/data18.xml"/><Relationship Id="rId26" Type="http://schemas.openxmlformats.org/officeDocument/2006/relationships/diagramColors" Target="../diagrams/colors19.xml"/><Relationship Id="rId3" Type="http://schemas.openxmlformats.org/officeDocument/2006/relationships/diagramData" Target="../diagrams/data15.xml"/><Relationship Id="rId21" Type="http://schemas.openxmlformats.org/officeDocument/2006/relationships/diagramColors" Target="../diagrams/colors18.xml"/><Relationship Id="rId7" Type="http://schemas.microsoft.com/office/2007/relationships/diagramDrawing" Target="../diagrams/drawing15.xml"/><Relationship Id="rId12" Type="http://schemas.microsoft.com/office/2007/relationships/diagramDrawing" Target="../diagrams/drawing16.xml"/><Relationship Id="rId17" Type="http://schemas.microsoft.com/office/2007/relationships/diagramDrawing" Target="../diagrams/drawing17.xml"/><Relationship Id="rId25" Type="http://schemas.openxmlformats.org/officeDocument/2006/relationships/diagramQuickStyle" Target="../diagrams/quickStyle19.xml"/><Relationship Id="rId2" Type="http://schemas.openxmlformats.org/officeDocument/2006/relationships/notesSlide" Target="../notesSlides/notesSlide21.xml"/><Relationship Id="rId16" Type="http://schemas.openxmlformats.org/officeDocument/2006/relationships/diagramColors" Target="../diagrams/colors17.xml"/><Relationship Id="rId20" Type="http://schemas.openxmlformats.org/officeDocument/2006/relationships/diagramQuickStyle" Target="../diagrams/quickStyle18.xml"/><Relationship Id="rId1" Type="http://schemas.openxmlformats.org/officeDocument/2006/relationships/slideLayout" Target="../slideLayouts/slideLayout125.xml"/><Relationship Id="rId6" Type="http://schemas.openxmlformats.org/officeDocument/2006/relationships/diagramColors" Target="../diagrams/colors15.xml"/><Relationship Id="rId11" Type="http://schemas.openxmlformats.org/officeDocument/2006/relationships/diagramColors" Target="../diagrams/colors16.xml"/><Relationship Id="rId24" Type="http://schemas.openxmlformats.org/officeDocument/2006/relationships/diagramLayout" Target="../diagrams/layout19.xml"/><Relationship Id="rId5" Type="http://schemas.openxmlformats.org/officeDocument/2006/relationships/diagramQuickStyle" Target="../diagrams/quickStyle15.xml"/><Relationship Id="rId15" Type="http://schemas.openxmlformats.org/officeDocument/2006/relationships/diagramQuickStyle" Target="../diagrams/quickStyle17.xml"/><Relationship Id="rId23" Type="http://schemas.openxmlformats.org/officeDocument/2006/relationships/diagramData" Target="../diagrams/data19.xml"/><Relationship Id="rId10" Type="http://schemas.openxmlformats.org/officeDocument/2006/relationships/diagramQuickStyle" Target="../diagrams/quickStyle16.xml"/><Relationship Id="rId19" Type="http://schemas.openxmlformats.org/officeDocument/2006/relationships/diagramLayout" Target="../diagrams/layout18.xml"/><Relationship Id="rId4" Type="http://schemas.openxmlformats.org/officeDocument/2006/relationships/diagramLayout" Target="../diagrams/layout15.xml"/><Relationship Id="rId9" Type="http://schemas.openxmlformats.org/officeDocument/2006/relationships/diagramLayout" Target="../diagrams/layout16.xml"/><Relationship Id="rId14" Type="http://schemas.openxmlformats.org/officeDocument/2006/relationships/diagramLayout" Target="../diagrams/layout17.xml"/><Relationship Id="rId22" Type="http://schemas.microsoft.com/office/2007/relationships/diagramDrawing" Target="../diagrams/drawing18.xml"/><Relationship Id="rId27" Type="http://schemas.microsoft.com/office/2007/relationships/diagramDrawing" Target="../diagrams/drawing1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87.xml"/><Relationship Id="rId1" Type="http://schemas.openxmlformats.org/officeDocument/2006/relationships/tags" Target="../tags/tag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0.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ustomXml" Target="../../customXml/item3.xml"/><Relationship Id="rId7" Type="http://schemas.openxmlformats.org/officeDocument/2006/relationships/notesSlide" Target="../notesSlides/notesSlide4.xml"/><Relationship Id="rId2" Type="http://schemas.openxmlformats.org/officeDocument/2006/relationships/customXml" Target="../../customXml/item11.xml"/><Relationship Id="rId1" Type="http://schemas.openxmlformats.org/officeDocument/2006/relationships/tags" Target="../tags/tag7.xml"/><Relationship Id="rId6" Type="http://schemas.openxmlformats.org/officeDocument/2006/relationships/slideLayout" Target="../slideLayouts/slideLayout126.xml"/><Relationship Id="rId5" Type="http://schemas.openxmlformats.org/officeDocument/2006/relationships/customXml" Target="../../customXml/item8.xml"/><Relationship Id="rId4" Type="http://schemas.openxmlformats.org/officeDocument/2006/relationships/customXml" Target="../../customXml/item9.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2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2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12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12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125.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Query Optimization</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12</a:t>
            </a:r>
          </a:p>
        </p:txBody>
      </p:sp>
      <p:sp>
        <p:nvSpPr>
          <p:cNvPr id="8" name="Picture Placeholder 7">
            <a:extLst>
              <a:ext uri="{FF2B5EF4-FFF2-40B4-BE49-F238E27FC236}">
                <a16:creationId xmlns:a16="http://schemas.microsoft.com/office/drawing/2014/main" id="{EDC67D45-694A-4356-BDA3-30BA960758EC}"/>
              </a:ext>
            </a:extLst>
          </p:cNvPr>
          <p:cNvSpPr>
            <a:spLocks noGrp="1"/>
          </p:cNvSpPr>
          <p:nvPr>
            <p:ph type="pic" sz="quarter" idx="17"/>
          </p:nvPr>
        </p:nvSpPr>
        <p:spPr/>
      </p:sp>
      <p:pic>
        <p:nvPicPr>
          <p:cNvPr id="9" name="Picture Placeholder 1">
            <a:extLst>
              <a:ext uri="{FF2B5EF4-FFF2-40B4-BE49-F238E27FC236}">
                <a16:creationId xmlns:a16="http://schemas.microsoft.com/office/drawing/2014/main" id="{D3DB6F98-EBE9-485D-9539-880565BAC9EC}"/>
              </a:ext>
            </a:extLst>
          </p:cNvPr>
          <p:cNvPicPr>
            <a:picLocks noChangeAspect="1"/>
          </p:cNvPicPr>
          <p:nvPr/>
        </p:nvPicPr>
        <p:blipFill rotWithShape="1">
          <a:blip r:embed="rId3"/>
          <a:srcRect t="11" b="11"/>
          <a:stretch/>
        </p:blipFill>
        <p:spPr>
          <a:xfrm>
            <a:off x="8092552" y="2651542"/>
            <a:ext cx="1691679" cy="1691439"/>
          </a:xfrm>
          <a:prstGeom prst="rect">
            <a:avLst/>
          </a:prstGeom>
          <a:solidFill>
            <a:srgbClr val="243A5E"/>
          </a:solidFill>
        </p:spPr>
      </p:pic>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69571" y="3039096"/>
            <a:ext cx="10988852" cy="616838"/>
          </a:xfrm>
        </p:spPr>
        <p:txBody>
          <a:bodyPr/>
          <a:lstStyle/>
          <a:p>
            <a:r>
              <a:rPr lang="en-US" dirty="0"/>
              <a:t>Lesson 2: Identify a query execution issue</a:t>
            </a:r>
          </a:p>
        </p:txBody>
      </p:sp>
    </p:spTree>
    <p:extLst>
      <p:ext uri="{BB962C8B-B14F-4D97-AF65-F5344CB8AC3E}">
        <p14:creationId xmlns:p14="http://schemas.microsoft.com/office/powerpoint/2010/main" val="33757616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69572" y="1436145"/>
            <a:ext cx="11097333" cy="1877050"/>
          </a:xfrm>
        </p:spPr>
        <p:txBody>
          <a:bodyPr>
            <a:normAutofit/>
          </a:bodyPr>
          <a:lstStyle/>
          <a:p>
            <a:r>
              <a:rPr lang="en-US" dirty="0"/>
              <a:t>Understand the following topics:</a:t>
            </a:r>
          </a:p>
          <a:p>
            <a:pPr lvl="1"/>
            <a:r>
              <a:rPr lang="en-US" dirty="0"/>
              <a:t>How to identify a problem with an executing query</a:t>
            </a:r>
          </a:p>
          <a:p>
            <a:pPr lvl="1"/>
            <a:r>
              <a:rPr lang="en-US" dirty="0"/>
              <a:t>Identify options for optimizing query performance</a:t>
            </a:r>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940554" y="3753081"/>
            <a:ext cx="1865207" cy="2418940"/>
          </a:xfrm>
          <a:prstGeom prst="rect">
            <a:avLst/>
          </a:prstGeom>
        </p:spPr>
      </p:pic>
    </p:spTree>
    <p:custDataLst>
      <p:tags r:id="rId1"/>
    </p:custDataLst>
    <p:extLst>
      <p:ext uri="{BB962C8B-B14F-4D97-AF65-F5344CB8AC3E}">
        <p14:creationId xmlns:p14="http://schemas.microsoft.com/office/powerpoint/2010/main" val="3305365861"/>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F73FB-0F14-444B-90F0-878723822DC6}"/>
              </a:ext>
            </a:extLst>
          </p:cNvPr>
          <p:cNvSpPr>
            <a:spLocks noGrp="1"/>
          </p:cNvSpPr>
          <p:nvPr>
            <p:ph type="title"/>
          </p:nvPr>
        </p:nvSpPr>
        <p:spPr/>
        <p:txBody>
          <a:bodyPr/>
          <a:lstStyle/>
          <a:p>
            <a:r>
              <a:rPr lang="en-US" dirty="0"/>
              <a:t>What is the query doing?</a:t>
            </a:r>
          </a:p>
        </p:txBody>
      </p:sp>
      <p:sp>
        <p:nvSpPr>
          <p:cNvPr id="5" name="TextBox 4">
            <a:extLst>
              <a:ext uri="{FF2B5EF4-FFF2-40B4-BE49-F238E27FC236}">
                <a16:creationId xmlns:a16="http://schemas.microsoft.com/office/drawing/2014/main" id="{7437B739-4422-4D21-9887-7DA10DDE6E73}"/>
              </a:ext>
            </a:extLst>
          </p:cNvPr>
          <p:cNvSpPr txBox="1"/>
          <p:nvPr/>
        </p:nvSpPr>
        <p:spPr>
          <a:xfrm>
            <a:off x="7461504" y="6194306"/>
            <a:ext cx="4417876" cy="800219"/>
          </a:xfrm>
          <a:prstGeom prst="rect">
            <a:avLst/>
          </a:prstGeom>
          <a:noFill/>
        </p:spPr>
        <p:txBody>
          <a:bodyPr wrap="none" lIns="0" tIns="0" rIns="0" bIns="0" rtlCol="0">
            <a:spAutoFit/>
          </a:bodyPr>
          <a:lstStyle/>
          <a:p>
            <a:r>
              <a:rPr lang="en-US" sz="3200" dirty="0"/>
              <a:t>&lt;link to </a:t>
            </a:r>
            <a:r>
              <a:rPr lang="en-US" sz="3200" dirty="0" err="1"/>
              <a:t>github</a:t>
            </a:r>
            <a:r>
              <a:rPr lang="en-US" sz="3200" dirty="0"/>
              <a:t> queries&gt;</a:t>
            </a:r>
          </a:p>
          <a:p>
            <a:pPr algn="l"/>
            <a:endParaRPr lang="en-US" sz="2000" dirty="0">
              <a:gradFill>
                <a:gsLst>
                  <a:gs pos="2917">
                    <a:schemeClr val="tx1"/>
                  </a:gs>
                  <a:gs pos="30000">
                    <a:schemeClr val="tx1"/>
                  </a:gs>
                </a:gsLst>
                <a:lin ang="5400000" scaled="0"/>
              </a:gradFill>
            </a:endParaRPr>
          </a:p>
        </p:txBody>
      </p:sp>
      <p:graphicFrame>
        <p:nvGraphicFramePr>
          <p:cNvPr id="3" name="Content Placeholder 2">
            <a:extLst>
              <a:ext uri="{FF2B5EF4-FFF2-40B4-BE49-F238E27FC236}">
                <a16:creationId xmlns:a16="http://schemas.microsoft.com/office/drawing/2014/main" id="{ECDB5295-1E26-4862-A384-D59BABB4138D}"/>
              </a:ext>
            </a:extLst>
          </p:cNvPr>
          <p:cNvGraphicFramePr>
            <a:graphicFrameLocks noGrp="1"/>
          </p:cNvGraphicFramePr>
          <p:nvPr>
            <p:ph sz="quarter" idx="13"/>
            <p:extLst>
              <p:ext uri="{D42A27DB-BD31-4B8C-83A1-F6EECF244321}">
                <p14:modId xmlns:p14="http://schemas.microsoft.com/office/powerpoint/2010/main" val="3210201934"/>
              </p:ext>
            </p:extLst>
          </p:nvPr>
        </p:nvGraphicFramePr>
        <p:xfrm>
          <a:off x="668785" y="948906"/>
          <a:ext cx="11098907" cy="54028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EA51FCCA-DD50-425C-A88C-A689E60EB6BB}"/>
              </a:ext>
            </a:extLst>
          </p:cNvPr>
          <p:cNvSpPr txBox="1"/>
          <p:nvPr/>
        </p:nvSpPr>
        <p:spPr>
          <a:xfrm>
            <a:off x="1227639" y="6194306"/>
            <a:ext cx="5192698" cy="430887"/>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All Distributions ‘Complete’ indicates streaming rows back</a:t>
            </a:r>
          </a:p>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Running’ indicates executing the SQL text listed</a:t>
            </a:r>
          </a:p>
        </p:txBody>
      </p:sp>
    </p:spTree>
    <p:extLst>
      <p:ext uri="{BB962C8B-B14F-4D97-AF65-F5344CB8AC3E}">
        <p14:creationId xmlns:p14="http://schemas.microsoft.com/office/powerpoint/2010/main" val="15891419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F73FB-0F14-444B-90F0-878723822DC6}"/>
              </a:ext>
            </a:extLst>
          </p:cNvPr>
          <p:cNvSpPr>
            <a:spLocks noGrp="1"/>
          </p:cNvSpPr>
          <p:nvPr>
            <p:ph type="title"/>
          </p:nvPr>
        </p:nvSpPr>
        <p:spPr/>
        <p:txBody>
          <a:bodyPr/>
          <a:lstStyle/>
          <a:p>
            <a:r>
              <a:rPr lang="en-US" dirty="0"/>
              <a:t>Dynamic Management Views</a:t>
            </a:r>
          </a:p>
        </p:txBody>
      </p:sp>
      <p:grpSp>
        <p:nvGrpSpPr>
          <p:cNvPr id="52" name="Group 51">
            <a:extLst>
              <a:ext uri="{FF2B5EF4-FFF2-40B4-BE49-F238E27FC236}">
                <a16:creationId xmlns:a16="http://schemas.microsoft.com/office/drawing/2014/main" id="{1580D41F-1750-414C-A0BB-0C58E9C51638}"/>
              </a:ext>
            </a:extLst>
          </p:cNvPr>
          <p:cNvGrpSpPr/>
          <p:nvPr/>
        </p:nvGrpSpPr>
        <p:grpSpPr>
          <a:xfrm>
            <a:off x="760221" y="797268"/>
            <a:ext cx="11166628" cy="5891500"/>
            <a:chOff x="785273" y="879393"/>
            <a:chExt cx="10650401" cy="5788721"/>
          </a:xfrm>
        </p:grpSpPr>
        <p:sp>
          <p:nvSpPr>
            <p:cNvPr id="9" name="Rectangle 8">
              <a:extLst>
                <a:ext uri="{FF2B5EF4-FFF2-40B4-BE49-F238E27FC236}">
                  <a16:creationId xmlns:a16="http://schemas.microsoft.com/office/drawing/2014/main" id="{6DB5B524-2F72-4EA1-B15C-CF4C9504F35D}"/>
                </a:ext>
              </a:extLst>
            </p:cNvPr>
            <p:cNvSpPr/>
            <p:nvPr/>
          </p:nvSpPr>
          <p:spPr bwMode="auto">
            <a:xfrm>
              <a:off x="785273" y="993156"/>
              <a:ext cx="10585810" cy="5674958"/>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AU"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189BE5D6-2B02-4269-91FA-04931EDFED98}"/>
                </a:ext>
              </a:extLst>
            </p:cNvPr>
            <p:cNvGrpSpPr/>
            <p:nvPr/>
          </p:nvGrpSpPr>
          <p:grpSpPr>
            <a:xfrm>
              <a:off x="1236985" y="1397968"/>
              <a:ext cx="10198689" cy="5129319"/>
              <a:chOff x="1459393" y="583776"/>
              <a:chExt cx="10198689" cy="5129319"/>
            </a:xfrm>
          </p:grpSpPr>
          <p:cxnSp>
            <p:nvCxnSpPr>
              <p:cNvPr id="13" name="Straight Connector 12">
                <a:extLst>
                  <a:ext uri="{FF2B5EF4-FFF2-40B4-BE49-F238E27FC236}">
                    <a16:creationId xmlns:a16="http://schemas.microsoft.com/office/drawing/2014/main" id="{332298FF-34E9-4870-AF15-02B1BB33DA6F}"/>
                  </a:ext>
                </a:extLst>
              </p:cNvPr>
              <p:cNvCxnSpPr/>
              <p:nvPr/>
            </p:nvCxnSpPr>
            <p:spPr>
              <a:xfrm flipV="1">
                <a:off x="6954164" y="2470178"/>
                <a:ext cx="1107636" cy="1709773"/>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94E46F01-A881-4F07-9549-DF8431DAF1FF}"/>
                  </a:ext>
                </a:extLst>
              </p:cNvPr>
              <p:cNvCxnSpPr/>
              <p:nvPr/>
            </p:nvCxnSpPr>
            <p:spPr>
              <a:xfrm>
                <a:off x="7005557" y="4547341"/>
                <a:ext cx="1215210" cy="1"/>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CC72603E-02EE-4938-884A-5D8EDA1933A3}"/>
                  </a:ext>
                </a:extLst>
              </p:cNvPr>
              <p:cNvCxnSpPr/>
              <p:nvPr/>
            </p:nvCxnSpPr>
            <p:spPr>
              <a:xfrm flipV="1">
                <a:off x="8167778" y="4335385"/>
                <a:ext cx="363857" cy="190761"/>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C43BFE24-2D1D-478A-AD08-2F842A8E1ED9}"/>
                  </a:ext>
                </a:extLst>
              </p:cNvPr>
              <p:cNvCxnSpPr/>
              <p:nvPr/>
            </p:nvCxnSpPr>
            <p:spPr>
              <a:xfrm>
                <a:off x="8164246" y="4531231"/>
                <a:ext cx="363857" cy="228065"/>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DB3A2AF4-BCC8-4B14-9C7F-4D6DB9E49ECE}"/>
                  </a:ext>
                </a:extLst>
              </p:cNvPr>
              <p:cNvCxnSpPr/>
              <p:nvPr/>
            </p:nvCxnSpPr>
            <p:spPr>
              <a:xfrm>
                <a:off x="8164246" y="4531231"/>
                <a:ext cx="363857" cy="0"/>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grpSp>
            <p:nvGrpSpPr>
              <p:cNvPr id="18" name="Group 17">
                <a:extLst>
                  <a:ext uri="{FF2B5EF4-FFF2-40B4-BE49-F238E27FC236}">
                    <a16:creationId xmlns:a16="http://schemas.microsoft.com/office/drawing/2014/main" id="{3DDDCAF0-A9E4-40A1-B4F4-A7FCD20741C4}"/>
                  </a:ext>
                </a:extLst>
              </p:cNvPr>
              <p:cNvGrpSpPr/>
              <p:nvPr/>
            </p:nvGrpSpPr>
            <p:grpSpPr>
              <a:xfrm>
                <a:off x="2180041" y="1516379"/>
                <a:ext cx="367388" cy="1398907"/>
                <a:chOff x="2331998" y="1973262"/>
                <a:chExt cx="360211" cy="1371602"/>
              </a:xfrm>
            </p:grpSpPr>
            <p:cxnSp>
              <p:nvCxnSpPr>
                <p:cNvPr id="46" name="Straight Connector 45">
                  <a:extLst>
                    <a:ext uri="{FF2B5EF4-FFF2-40B4-BE49-F238E27FC236}">
                      <a16:creationId xmlns:a16="http://schemas.microsoft.com/office/drawing/2014/main" id="{9C440D35-0C2B-4ED1-8D43-CAFFDF7B48C4}"/>
                    </a:ext>
                  </a:extLst>
                </p:cNvPr>
                <p:cNvCxnSpPr/>
                <p:nvPr/>
              </p:nvCxnSpPr>
              <p:spPr>
                <a:xfrm flipH="1">
                  <a:off x="2332037" y="1973262"/>
                  <a:ext cx="3463" cy="1147987"/>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F7A02A42-20E5-4CD8-B800-6444D2C33CCF}"/>
                    </a:ext>
                  </a:extLst>
                </p:cNvPr>
                <p:cNvCxnSpPr/>
                <p:nvPr/>
              </p:nvCxnSpPr>
              <p:spPr>
                <a:xfrm flipV="1">
                  <a:off x="2335500" y="2908444"/>
                  <a:ext cx="356755" cy="187038"/>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7C7614C9-6308-44A4-8DEA-B3BDB9375FE2}"/>
                    </a:ext>
                  </a:extLst>
                </p:cNvPr>
                <p:cNvCxnSpPr/>
                <p:nvPr/>
              </p:nvCxnSpPr>
              <p:spPr>
                <a:xfrm>
                  <a:off x="2332037" y="3121249"/>
                  <a:ext cx="356755" cy="223613"/>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0403B10C-D208-4449-BE7B-A79406C405E8}"/>
                    </a:ext>
                  </a:extLst>
                </p:cNvPr>
                <p:cNvCxnSpPr/>
                <p:nvPr/>
              </p:nvCxnSpPr>
              <p:spPr>
                <a:xfrm>
                  <a:off x="2332037" y="3121249"/>
                  <a:ext cx="356755" cy="0"/>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grpSp>
          <p:grpSp>
            <p:nvGrpSpPr>
              <p:cNvPr id="19" name="Group 18">
                <a:extLst>
                  <a:ext uri="{FF2B5EF4-FFF2-40B4-BE49-F238E27FC236}">
                    <a16:creationId xmlns:a16="http://schemas.microsoft.com/office/drawing/2014/main" id="{FA678555-234B-4D40-882B-E32F3B2A60B0}"/>
                  </a:ext>
                </a:extLst>
              </p:cNvPr>
              <p:cNvGrpSpPr/>
              <p:nvPr/>
            </p:nvGrpSpPr>
            <p:grpSpPr>
              <a:xfrm>
                <a:off x="1459393" y="583776"/>
                <a:ext cx="2826071" cy="989125"/>
                <a:chOff x="717983" y="1945553"/>
                <a:chExt cx="2770909" cy="969818"/>
              </a:xfrm>
            </p:grpSpPr>
            <p:sp>
              <p:nvSpPr>
                <p:cNvPr id="44" name="Rounded Rectangle 3">
                  <a:extLst>
                    <a:ext uri="{FF2B5EF4-FFF2-40B4-BE49-F238E27FC236}">
                      <a16:creationId xmlns:a16="http://schemas.microsoft.com/office/drawing/2014/main" id="{25543187-47E3-46B5-8460-FCA7D568D8B1}"/>
                    </a:ext>
                  </a:extLst>
                </p:cNvPr>
                <p:cNvSpPr/>
                <p:nvPr/>
              </p:nvSpPr>
              <p:spPr bwMode="auto">
                <a:xfrm>
                  <a:off x="717983" y="1945553"/>
                  <a:ext cx="2770909" cy="969818"/>
                </a:xfrm>
                <a:prstGeom prst="round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t" anchorCtr="0" compatLnSpc="1">
                  <a:prstTxWarp prst="textNoShape">
                    <a:avLst/>
                  </a:prstTxWarp>
                </a:bodyPr>
                <a:lstStyle/>
                <a:p>
                  <a:pPr algn="ctr" defTabSz="951028" fontAlgn="base">
                    <a:spcBef>
                      <a:spcPct val="0"/>
                    </a:spcBef>
                    <a:spcAft>
                      <a:spcPct val="0"/>
                    </a:spcAft>
                    <a:defRPr/>
                  </a:pPr>
                  <a:r>
                    <a:rPr lang="en-US" sz="1836" b="1" dirty="0" err="1">
                      <a:gradFill>
                        <a:gsLst>
                          <a:gs pos="0">
                            <a:srgbClr val="FFFFFF"/>
                          </a:gs>
                          <a:gs pos="100000">
                            <a:srgbClr val="FFFFFF"/>
                          </a:gs>
                        </a:gsLst>
                        <a:lin ang="5400000" scaled="0"/>
                      </a:gradFill>
                      <a:latin typeface="Segoe UI"/>
                    </a:rPr>
                    <a:t>dm_pdw_exec_sessions</a:t>
                  </a:r>
                  <a:endParaRPr lang="en-US" sz="1836" b="1" dirty="0">
                    <a:gradFill>
                      <a:gsLst>
                        <a:gs pos="0">
                          <a:srgbClr val="FFFFFF"/>
                        </a:gs>
                        <a:gs pos="100000">
                          <a:srgbClr val="FFFFFF"/>
                        </a:gs>
                      </a:gsLst>
                      <a:lin ang="5400000" scaled="0"/>
                    </a:gradFill>
                    <a:latin typeface="Segoe UI"/>
                  </a:endParaRPr>
                </a:p>
                <a:p>
                  <a:pPr algn="ctr" defTabSz="951028" fontAlgn="base">
                    <a:spcBef>
                      <a:spcPct val="0"/>
                    </a:spcBef>
                    <a:spcAft>
                      <a:spcPct val="0"/>
                    </a:spcAft>
                    <a:defRPr/>
                  </a:pPr>
                  <a:endParaRPr lang="en-US" sz="1224" b="1" dirty="0">
                    <a:gradFill>
                      <a:gsLst>
                        <a:gs pos="0">
                          <a:srgbClr val="FFFFFF"/>
                        </a:gs>
                        <a:gs pos="100000">
                          <a:srgbClr val="FFFFFF"/>
                        </a:gs>
                      </a:gsLst>
                      <a:lin ang="5400000" scaled="0"/>
                    </a:gradFill>
                    <a:latin typeface="Segoe UI"/>
                  </a:endParaRPr>
                </a:p>
                <a:p>
                  <a:pPr algn="ctr" defTabSz="951028" fontAlgn="base">
                    <a:spcBef>
                      <a:spcPct val="0"/>
                    </a:spcBef>
                    <a:spcAft>
                      <a:spcPct val="0"/>
                    </a:spcAft>
                    <a:defRPr/>
                  </a:pPr>
                  <a:r>
                    <a:rPr lang="en-US" sz="1836" b="1" dirty="0" err="1">
                      <a:gradFill>
                        <a:gsLst>
                          <a:gs pos="0">
                            <a:srgbClr val="FFFFFF"/>
                          </a:gs>
                          <a:gs pos="100000">
                            <a:srgbClr val="FFFFFF"/>
                          </a:gs>
                        </a:gsLst>
                        <a:lin ang="5400000" scaled="0"/>
                      </a:gradFill>
                      <a:latin typeface="Segoe UI"/>
                    </a:rPr>
                    <a:t>session_id</a:t>
                  </a:r>
                  <a:r>
                    <a:rPr lang="en-US" sz="1836" b="1" dirty="0">
                      <a:gradFill>
                        <a:gsLst>
                          <a:gs pos="0">
                            <a:srgbClr val="FFFFFF"/>
                          </a:gs>
                          <a:gs pos="100000">
                            <a:srgbClr val="FFFFFF"/>
                          </a:gs>
                        </a:gsLst>
                        <a:lin ang="5400000" scaled="0"/>
                      </a:gradFill>
                      <a:latin typeface="Segoe UI"/>
                    </a:rPr>
                    <a:t> (PK)</a:t>
                  </a:r>
                </a:p>
                <a:p>
                  <a:pPr algn="ctr" defTabSz="951028" fontAlgn="base">
                    <a:spcBef>
                      <a:spcPct val="0"/>
                    </a:spcBef>
                    <a:spcAft>
                      <a:spcPct val="0"/>
                    </a:spcAft>
                    <a:defRPr/>
                  </a:pPr>
                  <a:endParaRPr lang="en-US" sz="1836" b="1" dirty="0">
                    <a:gradFill>
                      <a:gsLst>
                        <a:gs pos="0">
                          <a:srgbClr val="FFFFFF"/>
                        </a:gs>
                        <a:gs pos="100000">
                          <a:srgbClr val="FFFFFF"/>
                        </a:gs>
                      </a:gsLst>
                      <a:lin ang="5400000" scaled="0"/>
                    </a:gradFill>
                    <a:latin typeface="Segoe UI"/>
                  </a:endParaRPr>
                </a:p>
              </p:txBody>
            </p:sp>
            <p:cxnSp>
              <p:nvCxnSpPr>
                <p:cNvPr id="45" name="Straight Connector 44">
                  <a:extLst>
                    <a:ext uri="{FF2B5EF4-FFF2-40B4-BE49-F238E27FC236}">
                      <a16:creationId xmlns:a16="http://schemas.microsoft.com/office/drawing/2014/main" id="{25FF4953-BCC2-4743-9629-AD6F1B668EEB}"/>
                    </a:ext>
                  </a:extLst>
                </p:cNvPr>
                <p:cNvCxnSpPr/>
                <p:nvPr/>
              </p:nvCxnSpPr>
              <p:spPr>
                <a:xfrm>
                  <a:off x="884237" y="2388898"/>
                  <a:ext cx="243840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55F49CF1-6660-4BD8-B02E-5A433FB8C4C1}"/>
                  </a:ext>
                </a:extLst>
              </p:cNvPr>
              <p:cNvGrpSpPr/>
              <p:nvPr/>
            </p:nvGrpSpPr>
            <p:grpSpPr>
              <a:xfrm>
                <a:off x="3765672" y="3148435"/>
                <a:ext cx="413814" cy="1709773"/>
                <a:chOff x="2332037" y="1668462"/>
                <a:chExt cx="413814" cy="1676400"/>
              </a:xfrm>
            </p:grpSpPr>
            <p:cxnSp>
              <p:nvCxnSpPr>
                <p:cNvPr id="40" name="Straight Connector 39">
                  <a:extLst>
                    <a:ext uri="{FF2B5EF4-FFF2-40B4-BE49-F238E27FC236}">
                      <a16:creationId xmlns:a16="http://schemas.microsoft.com/office/drawing/2014/main" id="{25A51B93-E85D-44EF-9ABF-E1FAD571AC78}"/>
                    </a:ext>
                  </a:extLst>
                </p:cNvPr>
                <p:cNvCxnSpPr/>
                <p:nvPr/>
              </p:nvCxnSpPr>
              <p:spPr>
                <a:xfrm>
                  <a:off x="2332037" y="1668462"/>
                  <a:ext cx="0" cy="1452787"/>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E24B1F84-DC64-4E6B-ADA8-0C89C911C4FC}"/>
                    </a:ext>
                  </a:extLst>
                </p:cNvPr>
                <p:cNvCxnSpPr/>
                <p:nvPr/>
              </p:nvCxnSpPr>
              <p:spPr>
                <a:xfrm flipV="1">
                  <a:off x="2335500" y="2918835"/>
                  <a:ext cx="356755" cy="187038"/>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DF7179B3-23C7-451C-A875-7932B08AF10A}"/>
                    </a:ext>
                  </a:extLst>
                </p:cNvPr>
                <p:cNvCxnSpPr/>
                <p:nvPr/>
              </p:nvCxnSpPr>
              <p:spPr>
                <a:xfrm>
                  <a:off x="2332037" y="3121249"/>
                  <a:ext cx="356755" cy="223613"/>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34332F76-DF98-46E2-AE79-7F3177A0B99D}"/>
                    </a:ext>
                  </a:extLst>
                </p:cNvPr>
                <p:cNvCxnSpPr/>
                <p:nvPr/>
              </p:nvCxnSpPr>
              <p:spPr>
                <a:xfrm>
                  <a:off x="2332037" y="3121249"/>
                  <a:ext cx="356755" cy="0"/>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grpSp>
          <p:grpSp>
            <p:nvGrpSpPr>
              <p:cNvPr id="21" name="Group 20">
                <a:extLst>
                  <a:ext uri="{FF2B5EF4-FFF2-40B4-BE49-F238E27FC236}">
                    <a16:creationId xmlns:a16="http://schemas.microsoft.com/office/drawing/2014/main" id="{1AEA2627-9E27-4434-A91A-E24577558B37}"/>
                  </a:ext>
                </a:extLst>
              </p:cNvPr>
              <p:cNvGrpSpPr/>
              <p:nvPr/>
            </p:nvGrpSpPr>
            <p:grpSpPr>
              <a:xfrm>
                <a:off x="2519170" y="2138115"/>
                <a:ext cx="2826071" cy="1321188"/>
                <a:chOff x="717983" y="1945553"/>
                <a:chExt cx="2770909" cy="969818"/>
              </a:xfrm>
              <a:solidFill>
                <a:schemeClr val="bg2">
                  <a:lumMod val="75000"/>
                </a:schemeClr>
              </a:solidFill>
            </p:grpSpPr>
            <p:sp>
              <p:nvSpPr>
                <p:cNvPr id="38" name="Rounded Rectangle 28">
                  <a:extLst>
                    <a:ext uri="{FF2B5EF4-FFF2-40B4-BE49-F238E27FC236}">
                      <a16:creationId xmlns:a16="http://schemas.microsoft.com/office/drawing/2014/main" id="{62F812DC-730B-4718-B4D8-783FFB3C4473}"/>
                    </a:ext>
                  </a:extLst>
                </p:cNvPr>
                <p:cNvSpPr/>
                <p:nvPr/>
              </p:nvSpPr>
              <p:spPr bwMode="auto">
                <a:xfrm>
                  <a:off x="717983" y="1945553"/>
                  <a:ext cx="2770909" cy="969818"/>
                </a:xfrm>
                <a:prstGeom prst="round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t" anchorCtr="0" compatLnSpc="1">
                  <a:prstTxWarp prst="textNoShape">
                    <a:avLst/>
                  </a:prstTxWarp>
                </a:bodyPr>
                <a:lstStyle/>
                <a:p>
                  <a:pPr algn="ctr" defTabSz="951028" fontAlgn="base">
                    <a:spcBef>
                      <a:spcPct val="0"/>
                    </a:spcBef>
                    <a:spcAft>
                      <a:spcPct val="0"/>
                    </a:spcAft>
                    <a:defRPr/>
                  </a:pPr>
                  <a:r>
                    <a:rPr lang="en-US" sz="1836" b="1" dirty="0" err="1">
                      <a:gradFill>
                        <a:gsLst>
                          <a:gs pos="0">
                            <a:srgbClr val="FFFFFF"/>
                          </a:gs>
                          <a:gs pos="100000">
                            <a:srgbClr val="FFFFFF"/>
                          </a:gs>
                        </a:gsLst>
                        <a:lin ang="5400000" scaled="0"/>
                      </a:gradFill>
                      <a:latin typeface="Segoe UI"/>
                    </a:rPr>
                    <a:t>dm_pdw_exec_requests</a:t>
                  </a:r>
                  <a:endParaRPr lang="en-US" sz="1836" b="1" dirty="0">
                    <a:gradFill>
                      <a:gsLst>
                        <a:gs pos="0">
                          <a:srgbClr val="FFFFFF"/>
                        </a:gs>
                        <a:gs pos="100000">
                          <a:srgbClr val="FFFFFF"/>
                        </a:gs>
                      </a:gsLst>
                      <a:lin ang="5400000" scaled="0"/>
                    </a:gradFill>
                    <a:latin typeface="Segoe UI"/>
                  </a:endParaRPr>
                </a:p>
                <a:p>
                  <a:pPr algn="ctr" defTabSz="951028" fontAlgn="base">
                    <a:spcBef>
                      <a:spcPct val="0"/>
                    </a:spcBef>
                    <a:spcAft>
                      <a:spcPct val="0"/>
                    </a:spcAft>
                    <a:defRPr/>
                  </a:pPr>
                  <a:endParaRPr lang="en-US" sz="1224" b="1" dirty="0">
                    <a:gradFill>
                      <a:gsLst>
                        <a:gs pos="0">
                          <a:srgbClr val="FFFFFF"/>
                        </a:gs>
                        <a:gs pos="100000">
                          <a:srgbClr val="FFFFFF"/>
                        </a:gs>
                      </a:gsLst>
                      <a:lin ang="5400000" scaled="0"/>
                    </a:gradFill>
                    <a:latin typeface="Segoe UI"/>
                  </a:endParaRPr>
                </a:p>
                <a:p>
                  <a:pPr algn="ctr" defTabSz="951028" fontAlgn="base">
                    <a:spcBef>
                      <a:spcPct val="0"/>
                    </a:spcBef>
                    <a:spcAft>
                      <a:spcPct val="0"/>
                    </a:spcAft>
                    <a:defRPr/>
                  </a:pPr>
                  <a:r>
                    <a:rPr lang="en-US" sz="1836" b="1" dirty="0" err="1">
                      <a:gradFill>
                        <a:gsLst>
                          <a:gs pos="0">
                            <a:srgbClr val="FFFFFF"/>
                          </a:gs>
                          <a:gs pos="100000">
                            <a:srgbClr val="FFFFFF"/>
                          </a:gs>
                        </a:gsLst>
                        <a:lin ang="5400000" scaled="0"/>
                      </a:gradFill>
                      <a:latin typeface="Segoe UI"/>
                    </a:rPr>
                    <a:t>request_id</a:t>
                  </a:r>
                  <a:r>
                    <a:rPr lang="en-US" sz="1836" b="1" dirty="0">
                      <a:gradFill>
                        <a:gsLst>
                          <a:gs pos="0">
                            <a:srgbClr val="FFFFFF"/>
                          </a:gs>
                          <a:gs pos="100000">
                            <a:srgbClr val="FFFFFF"/>
                          </a:gs>
                        </a:gsLst>
                        <a:lin ang="5400000" scaled="0"/>
                      </a:gradFill>
                      <a:latin typeface="Segoe UI"/>
                    </a:rPr>
                    <a:t> (PK)</a:t>
                  </a:r>
                </a:p>
                <a:p>
                  <a:pPr algn="ctr" defTabSz="951028" fontAlgn="base">
                    <a:spcBef>
                      <a:spcPct val="0"/>
                    </a:spcBef>
                    <a:spcAft>
                      <a:spcPct val="0"/>
                    </a:spcAft>
                    <a:defRPr/>
                  </a:pPr>
                  <a:r>
                    <a:rPr lang="en-US" sz="1836" b="1" dirty="0" err="1">
                      <a:gradFill>
                        <a:gsLst>
                          <a:gs pos="0">
                            <a:srgbClr val="FFFFFF"/>
                          </a:gs>
                          <a:gs pos="100000">
                            <a:srgbClr val="FFFFFF"/>
                          </a:gs>
                        </a:gsLst>
                        <a:lin ang="5400000" scaled="0"/>
                      </a:gradFill>
                      <a:latin typeface="Segoe UI"/>
                    </a:rPr>
                    <a:t>session_id</a:t>
                  </a:r>
                  <a:endParaRPr lang="en-US" sz="1836" b="1" dirty="0">
                    <a:gradFill>
                      <a:gsLst>
                        <a:gs pos="0">
                          <a:srgbClr val="FFFFFF"/>
                        </a:gs>
                        <a:gs pos="100000">
                          <a:srgbClr val="FFFFFF"/>
                        </a:gs>
                      </a:gsLst>
                      <a:lin ang="5400000" scaled="0"/>
                    </a:gradFill>
                    <a:latin typeface="Segoe UI"/>
                  </a:endParaRPr>
                </a:p>
                <a:p>
                  <a:pPr algn="ctr" defTabSz="951028" fontAlgn="base">
                    <a:spcBef>
                      <a:spcPct val="0"/>
                    </a:spcBef>
                    <a:spcAft>
                      <a:spcPct val="0"/>
                    </a:spcAft>
                    <a:defRPr/>
                  </a:pPr>
                  <a:endParaRPr lang="en-US" sz="1836" b="1" dirty="0">
                    <a:gradFill>
                      <a:gsLst>
                        <a:gs pos="0">
                          <a:srgbClr val="FFFFFF"/>
                        </a:gs>
                        <a:gs pos="100000">
                          <a:srgbClr val="FFFFFF"/>
                        </a:gs>
                      </a:gsLst>
                      <a:lin ang="5400000" scaled="0"/>
                    </a:gradFill>
                    <a:latin typeface="Segoe UI"/>
                  </a:endParaRPr>
                </a:p>
              </p:txBody>
            </p:sp>
            <p:cxnSp>
              <p:nvCxnSpPr>
                <p:cNvPr id="39" name="Straight Connector 38">
                  <a:extLst>
                    <a:ext uri="{FF2B5EF4-FFF2-40B4-BE49-F238E27FC236}">
                      <a16:creationId xmlns:a16="http://schemas.microsoft.com/office/drawing/2014/main" id="{761C7689-9B48-4CBC-980B-C289CD9A084A}"/>
                    </a:ext>
                  </a:extLst>
                </p:cNvPr>
                <p:cNvCxnSpPr/>
                <p:nvPr/>
              </p:nvCxnSpPr>
              <p:spPr>
                <a:xfrm>
                  <a:off x="884237" y="2287842"/>
                  <a:ext cx="2438400" cy="0"/>
                </a:xfrm>
                <a:prstGeom prst="line">
                  <a:avLst/>
                </a:prstGeom>
                <a:grpFill/>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D338330C-C4B6-48B3-9F7A-CBF02D0BEA46}"/>
                  </a:ext>
                </a:extLst>
              </p:cNvPr>
              <p:cNvGrpSpPr/>
              <p:nvPr/>
            </p:nvGrpSpPr>
            <p:grpSpPr>
              <a:xfrm>
                <a:off x="4179486" y="4003322"/>
                <a:ext cx="2826071" cy="1321188"/>
                <a:chOff x="717983" y="1945553"/>
                <a:chExt cx="2770909" cy="969818"/>
              </a:xfrm>
            </p:grpSpPr>
            <p:sp>
              <p:nvSpPr>
                <p:cNvPr id="36" name="Rounded Rectangle 31">
                  <a:extLst>
                    <a:ext uri="{FF2B5EF4-FFF2-40B4-BE49-F238E27FC236}">
                      <a16:creationId xmlns:a16="http://schemas.microsoft.com/office/drawing/2014/main" id="{A946DB0D-7174-48D4-A3B6-36C3B2D9BA50}"/>
                    </a:ext>
                  </a:extLst>
                </p:cNvPr>
                <p:cNvSpPr/>
                <p:nvPr/>
              </p:nvSpPr>
              <p:spPr bwMode="auto">
                <a:xfrm>
                  <a:off x="717983" y="1945553"/>
                  <a:ext cx="2770909" cy="969818"/>
                </a:xfrm>
                <a:prstGeom prst="round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t" anchorCtr="0" compatLnSpc="1">
                  <a:prstTxWarp prst="textNoShape">
                    <a:avLst/>
                  </a:prstTxWarp>
                </a:bodyPr>
                <a:lstStyle/>
                <a:p>
                  <a:pPr algn="ctr" defTabSz="951028" fontAlgn="base">
                    <a:spcBef>
                      <a:spcPct val="0"/>
                    </a:spcBef>
                    <a:spcAft>
                      <a:spcPct val="0"/>
                    </a:spcAft>
                    <a:defRPr/>
                  </a:pPr>
                  <a:r>
                    <a:rPr lang="en-US" sz="1836" b="1" dirty="0" err="1">
                      <a:gradFill>
                        <a:gsLst>
                          <a:gs pos="0">
                            <a:srgbClr val="FFFFFF"/>
                          </a:gs>
                          <a:gs pos="100000">
                            <a:srgbClr val="FFFFFF"/>
                          </a:gs>
                        </a:gsLst>
                        <a:lin ang="5400000" scaled="0"/>
                      </a:gradFill>
                      <a:latin typeface="Segoe UI"/>
                    </a:rPr>
                    <a:t>dm_pdw_request_steps</a:t>
                  </a:r>
                  <a:endParaRPr lang="en-US" sz="1836" b="1" dirty="0">
                    <a:gradFill>
                      <a:gsLst>
                        <a:gs pos="0">
                          <a:srgbClr val="FFFFFF"/>
                        </a:gs>
                        <a:gs pos="100000">
                          <a:srgbClr val="FFFFFF"/>
                        </a:gs>
                      </a:gsLst>
                      <a:lin ang="5400000" scaled="0"/>
                    </a:gradFill>
                    <a:latin typeface="Segoe UI"/>
                  </a:endParaRPr>
                </a:p>
                <a:p>
                  <a:pPr algn="ctr" defTabSz="951028" fontAlgn="base">
                    <a:spcBef>
                      <a:spcPct val="0"/>
                    </a:spcBef>
                    <a:spcAft>
                      <a:spcPct val="0"/>
                    </a:spcAft>
                    <a:defRPr/>
                  </a:pPr>
                  <a:endParaRPr lang="en-US" sz="1224" b="1" dirty="0">
                    <a:gradFill>
                      <a:gsLst>
                        <a:gs pos="0">
                          <a:srgbClr val="FFFFFF"/>
                        </a:gs>
                        <a:gs pos="100000">
                          <a:srgbClr val="FFFFFF"/>
                        </a:gs>
                      </a:gsLst>
                      <a:lin ang="5400000" scaled="0"/>
                    </a:gradFill>
                    <a:latin typeface="Segoe UI"/>
                  </a:endParaRPr>
                </a:p>
                <a:p>
                  <a:pPr algn="ctr" defTabSz="951028" fontAlgn="base">
                    <a:spcBef>
                      <a:spcPct val="0"/>
                    </a:spcBef>
                    <a:spcAft>
                      <a:spcPct val="0"/>
                    </a:spcAft>
                    <a:defRPr/>
                  </a:pPr>
                  <a:r>
                    <a:rPr lang="en-US" sz="1836" b="1" dirty="0" err="1">
                      <a:gradFill>
                        <a:gsLst>
                          <a:gs pos="0">
                            <a:srgbClr val="FFFFFF"/>
                          </a:gs>
                          <a:gs pos="100000">
                            <a:srgbClr val="FFFFFF"/>
                          </a:gs>
                        </a:gsLst>
                        <a:lin ang="5400000" scaled="0"/>
                      </a:gradFill>
                      <a:latin typeface="Segoe UI"/>
                    </a:rPr>
                    <a:t>request_id</a:t>
                  </a:r>
                  <a:r>
                    <a:rPr lang="en-US" sz="1836" b="1" dirty="0">
                      <a:gradFill>
                        <a:gsLst>
                          <a:gs pos="0">
                            <a:srgbClr val="FFFFFF"/>
                          </a:gs>
                          <a:gs pos="100000">
                            <a:srgbClr val="FFFFFF"/>
                          </a:gs>
                        </a:gsLst>
                        <a:lin ang="5400000" scaled="0"/>
                      </a:gradFill>
                      <a:latin typeface="Segoe UI"/>
                    </a:rPr>
                    <a:t> (PK)</a:t>
                  </a:r>
                </a:p>
                <a:p>
                  <a:pPr algn="ctr" defTabSz="951028" fontAlgn="base">
                    <a:spcBef>
                      <a:spcPct val="0"/>
                    </a:spcBef>
                    <a:spcAft>
                      <a:spcPct val="0"/>
                    </a:spcAft>
                    <a:defRPr/>
                  </a:pPr>
                  <a:r>
                    <a:rPr lang="en-US" sz="1836" b="1" dirty="0" err="1">
                      <a:gradFill>
                        <a:gsLst>
                          <a:gs pos="0">
                            <a:srgbClr val="FFFFFF"/>
                          </a:gs>
                          <a:gs pos="100000">
                            <a:srgbClr val="FFFFFF"/>
                          </a:gs>
                        </a:gsLst>
                        <a:lin ang="5400000" scaled="0"/>
                      </a:gradFill>
                      <a:latin typeface="Segoe UI"/>
                    </a:rPr>
                    <a:t>step_index</a:t>
                  </a:r>
                  <a:r>
                    <a:rPr lang="en-US" sz="1836" b="1" dirty="0">
                      <a:gradFill>
                        <a:gsLst>
                          <a:gs pos="0">
                            <a:srgbClr val="FFFFFF"/>
                          </a:gs>
                          <a:gs pos="100000">
                            <a:srgbClr val="FFFFFF"/>
                          </a:gs>
                        </a:gsLst>
                        <a:lin ang="5400000" scaled="0"/>
                      </a:gradFill>
                      <a:latin typeface="Segoe UI"/>
                    </a:rPr>
                    <a:t> (PK)</a:t>
                  </a:r>
                </a:p>
                <a:p>
                  <a:pPr algn="ctr" defTabSz="951028" fontAlgn="base">
                    <a:spcBef>
                      <a:spcPct val="0"/>
                    </a:spcBef>
                    <a:spcAft>
                      <a:spcPct val="0"/>
                    </a:spcAft>
                    <a:defRPr/>
                  </a:pPr>
                  <a:endParaRPr lang="en-US" sz="1836" b="1" dirty="0">
                    <a:gradFill>
                      <a:gsLst>
                        <a:gs pos="0">
                          <a:srgbClr val="FFFFFF"/>
                        </a:gs>
                        <a:gs pos="100000">
                          <a:srgbClr val="FFFFFF"/>
                        </a:gs>
                      </a:gsLst>
                      <a:lin ang="5400000" scaled="0"/>
                    </a:gradFill>
                    <a:latin typeface="Segoe UI"/>
                  </a:endParaRPr>
                </a:p>
              </p:txBody>
            </p:sp>
            <p:cxnSp>
              <p:nvCxnSpPr>
                <p:cNvPr id="37" name="Straight Connector 36">
                  <a:extLst>
                    <a:ext uri="{FF2B5EF4-FFF2-40B4-BE49-F238E27FC236}">
                      <a16:creationId xmlns:a16="http://schemas.microsoft.com/office/drawing/2014/main" id="{D41A9625-6B0B-4511-8FAE-1D50CA36D07D}"/>
                    </a:ext>
                  </a:extLst>
                </p:cNvPr>
                <p:cNvCxnSpPr/>
                <p:nvPr/>
              </p:nvCxnSpPr>
              <p:spPr>
                <a:xfrm>
                  <a:off x="884237" y="2287842"/>
                  <a:ext cx="243840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26E5CDF0-E6BA-4DFC-8F43-528A3CFC8E64}"/>
                  </a:ext>
                </a:extLst>
              </p:cNvPr>
              <p:cNvGrpSpPr/>
              <p:nvPr/>
            </p:nvGrpSpPr>
            <p:grpSpPr>
              <a:xfrm>
                <a:off x="8531635" y="3925605"/>
                <a:ext cx="2826071" cy="1787490"/>
                <a:chOff x="717983" y="1945553"/>
                <a:chExt cx="2770909" cy="969818"/>
              </a:xfrm>
              <a:solidFill>
                <a:schemeClr val="bg2">
                  <a:lumMod val="75000"/>
                </a:schemeClr>
              </a:solidFill>
            </p:grpSpPr>
            <p:sp>
              <p:nvSpPr>
                <p:cNvPr id="34" name="Rounded Rectangle 34">
                  <a:extLst>
                    <a:ext uri="{FF2B5EF4-FFF2-40B4-BE49-F238E27FC236}">
                      <a16:creationId xmlns:a16="http://schemas.microsoft.com/office/drawing/2014/main" id="{0BAC9B67-0F51-4889-8F1A-1B7A922E3AAB}"/>
                    </a:ext>
                  </a:extLst>
                </p:cNvPr>
                <p:cNvSpPr/>
                <p:nvPr/>
              </p:nvSpPr>
              <p:spPr bwMode="auto">
                <a:xfrm>
                  <a:off x="717983" y="1945553"/>
                  <a:ext cx="2770909" cy="969818"/>
                </a:xfrm>
                <a:prstGeom prst="roundRect">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t" anchorCtr="0" compatLnSpc="1">
                  <a:prstTxWarp prst="textNoShape">
                    <a:avLst/>
                  </a:prstTxWarp>
                </a:bodyPr>
                <a:lstStyle/>
                <a:p>
                  <a:pPr algn="ctr" defTabSz="951028" fontAlgn="base">
                    <a:spcBef>
                      <a:spcPct val="0"/>
                    </a:spcBef>
                    <a:spcAft>
                      <a:spcPct val="0"/>
                    </a:spcAft>
                    <a:defRPr/>
                  </a:pPr>
                  <a:r>
                    <a:rPr lang="en-US" sz="1836" b="1" dirty="0" err="1">
                      <a:gradFill>
                        <a:gsLst>
                          <a:gs pos="0">
                            <a:srgbClr val="FFFFFF"/>
                          </a:gs>
                          <a:gs pos="100000">
                            <a:srgbClr val="FFFFFF"/>
                          </a:gs>
                        </a:gsLst>
                        <a:lin ang="5400000" scaled="0"/>
                      </a:gradFill>
                      <a:latin typeface="Segoe UI"/>
                    </a:rPr>
                    <a:t>dm_pdw_sql_requests</a:t>
                  </a:r>
                  <a:endParaRPr lang="en-US" sz="1836" b="1" dirty="0">
                    <a:gradFill>
                      <a:gsLst>
                        <a:gs pos="0">
                          <a:srgbClr val="FFFFFF"/>
                        </a:gs>
                        <a:gs pos="100000">
                          <a:srgbClr val="FFFFFF"/>
                        </a:gs>
                      </a:gsLst>
                      <a:lin ang="5400000" scaled="0"/>
                    </a:gradFill>
                    <a:latin typeface="Segoe UI"/>
                  </a:endParaRPr>
                </a:p>
                <a:p>
                  <a:pPr algn="ctr" defTabSz="951028" fontAlgn="base">
                    <a:spcBef>
                      <a:spcPct val="0"/>
                    </a:spcBef>
                    <a:spcAft>
                      <a:spcPct val="0"/>
                    </a:spcAft>
                    <a:defRPr/>
                  </a:pPr>
                  <a:endParaRPr lang="en-US" sz="1224" b="1" dirty="0">
                    <a:gradFill>
                      <a:gsLst>
                        <a:gs pos="0">
                          <a:srgbClr val="FFFFFF"/>
                        </a:gs>
                        <a:gs pos="100000">
                          <a:srgbClr val="FFFFFF"/>
                        </a:gs>
                      </a:gsLst>
                      <a:lin ang="5400000" scaled="0"/>
                    </a:gradFill>
                    <a:latin typeface="Segoe UI"/>
                  </a:endParaRPr>
                </a:p>
                <a:p>
                  <a:pPr algn="ctr" defTabSz="951028" fontAlgn="base">
                    <a:spcBef>
                      <a:spcPct val="0"/>
                    </a:spcBef>
                    <a:spcAft>
                      <a:spcPct val="0"/>
                    </a:spcAft>
                    <a:defRPr/>
                  </a:pPr>
                  <a:r>
                    <a:rPr lang="en-US" sz="1836" b="1" dirty="0" err="1">
                      <a:gradFill>
                        <a:gsLst>
                          <a:gs pos="0">
                            <a:srgbClr val="FFFFFF"/>
                          </a:gs>
                          <a:gs pos="100000">
                            <a:srgbClr val="FFFFFF"/>
                          </a:gs>
                        </a:gsLst>
                        <a:lin ang="5400000" scaled="0"/>
                      </a:gradFill>
                      <a:latin typeface="Segoe UI"/>
                    </a:rPr>
                    <a:t>request_id</a:t>
                  </a:r>
                  <a:r>
                    <a:rPr lang="en-US" sz="1836" b="1" dirty="0">
                      <a:gradFill>
                        <a:gsLst>
                          <a:gs pos="0">
                            <a:srgbClr val="FFFFFF"/>
                          </a:gs>
                          <a:gs pos="100000">
                            <a:srgbClr val="FFFFFF"/>
                          </a:gs>
                        </a:gsLst>
                        <a:lin ang="5400000" scaled="0"/>
                      </a:gradFill>
                      <a:latin typeface="Segoe UI"/>
                    </a:rPr>
                    <a:t> (PK)</a:t>
                  </a:r>
                </a:p>
                <a:p>
                  <a:pPr algn="ctr" defTabSz="951028" fontAlgn="base">
                    <a:spcBef>
                      <a:spcPct val="0"/>
                    </a:spcBef>
                    <a:spcAft>
                      <a:spcPct val="0"/>
                    </a:spcAft>
                    <a:defRPr/>
                  </a:pPr>
                  <a:r>
                    <a:rPr lang="en-US" sz="1836" b="1" dirty="0" err="1">
                      <a:gradFill>
                        <a:gsLst>
                          <a:gs pos="0">
                            <a:srgbClr val="FFFFFF"/>
                          </a:gs>
                          <a:gs pos="100000">
                            <a:srgbClr val="FFFFFF"/>
                          </a:gs>
                        </a:gsLst>
                        <a:lin ang="5400000" scaled="0"/>
                      </a:gradFill>
                      <a:latin typeface="Segoe UI"/>
                    </a:rPr>
                    <a:t>step_index</a:t>
                  </a:r>
                  <a:r>
                    <a:rPr lang="en-US" sz="1836" b="1" dirty="0">
                      <a:gradFill>
                        <a:gsLst>
                          <a:gs pos="0">
                            <a:srgbClr val="FFFFFF"/>
                          </a:gs>
                          <a:gs pos="100000">
                            <a:srgbClr val="FFFFFF"/>
                          </a:gs>
                        </a:gsLst>
                        <a:lin ang="5400000" scaled="0"/>
                      </a:gradFill>
                      <a:latin typeface="Segoe UI"/>
                    </a:rPr>
                    <a:t> (PK)</a:t>
                  </a:r>
                </a:p>
                <a:p>
                  <a:pPr algn="ctr" defTabSz="951028" fontAlgn="base">
                    <a:spcBef>
                      <a:spcPct val="0"/>
                    </a:spcBef>
                    <a:spcAft>
                      <a:spcPct val="0"/>
                    </a:spcAft>
                    <a:defRPr/>
                  </a:pPr>
                  <a:endParaRPr lang="en-US" sz="1836" b="1" dirty="0">
                    <a:gradFill>
                      <a:gsLst>
                        <a:gs pos="0">
                          <a:srgbClr val="FFFFFF"/>
                        </a:gs>
                        <a:gs pos="100000">
                          <a:srgbClr val="FFFFFF"/>
                        </a:gs>
                      </a:gsLst>
                      <a:lin ang="5400000" scaled="0"/>
                    </a:gradFill>
                    <a:latin typeface="Segoe UI"/>
                  </a:endParaRPr>
                </a:p>
                <a:p>
                  <a:pPr algn="ctr" defTabSz="951028" fontAlgn="base">
                    <a:spcBef>
                      <a:spcPct val="0"/>
                    </a:spcBef>
                    <a:spcAft>
                      <a:spcPct val="0"/>
                    </a:spcAft>
                    <a:defRPr/>
                  </a:pPr>
                  <a:endParaRPr lang="en-US" sz="1836" b="1" dirty="0">
                    <a:gradFill>
                      <a:gsLst>
                        <a:gs pos="0">
                          <a:srgbClr val="FFFFFF"/>
                        </a:gs>
                        <a:gs pos="100000">
                          <a:srgbClr val="FFFFFF"/>
                        </a:gs>
                      </a:gsLst>
                      <a:lin ang="5400000" scaled="0"/>
                    </a:gradFill>
                    <a:latin typeface="Segoe UI"/>
                  </a:endParaRPr>
                </a:p>
              </p:txBody>
            </p:sp>
            <p:cxnSp>
              <p:nvCxnSpPr>
                <p:cNvPr id="35" name="Straight Connector 34">
                  <a:extLst>
                    <a:ext uri="{FF2B5EF4-FFF2-40B4-BE49-F238E27FC236}">
                      <a16:creationId xmlns:a16="http://schemas.microsoft.com/office/drawing/2014/main" id="{617C3A7E-DCCF-4FD3-89C6-35C04DDC0A4D}"/>
                    </a:ext>
                  </a:extLst>
                </p:cNvPr>
                <p:cNvCxnSpPr/>
                <p:nvPr/>
              </p:nvCxnSpPr>
              <p:spPr>
                <a:xfrm>
                  <a:off x="884237" y="2240715"/>
                  <a:ext cx="2438400" cy="0"/>
                </a:xfrm>
                <a:prstGeom prst="line">
                  <a:avLst/>
                </a:prstGeom>
                <a:grpFill/>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6F1FA93E-9056-4497-A8D6-C8E62531E7DC}"/>
                  </a:ext>
                </a:extLst>
              </p:cNvPr>
              <p:cNvGrpSpPr/>
              <p:nvPr/>
            </p:nvGrpSpPr>
            <p:grpSpPr>
              <a:xfrm>
                <a:off x="8425658" y="1516379"/>
                <a:ext cx="2826071" cy="1787490"/>
                <a:chOff x="717983" y="1945553"/>
                <a:chExt cx="2770909" cy="969818"/>
              </a:xfrm>
            </p:grpSpPr>
            <p:sp>
              <p:nvSpPr>
                <p:cNvPr id="32" name="Rounded Rectangle 43">
                  <a:extLst>
                    <a:ext uri="{FF2B5EF4-FFF2-40B4-BE49-F238E27FC236}">
                      <a16:creationId xmlns:a16="http://schemas.microsoft.com/office/drawing/2014/main" id="{4C085043-CD02-4B37-B74A-E0772405E24A}"/>
                    </a:ext>
                  </a:extLst>
                </p:cNvPr>
                <p:cNvSpPr/>
                <p:nvPr/>
              </p:nvSpPr>
              <p:spPr bwMode="auto">
                <a:xfrm>
                  <a:off x="717983" y="1945553"/>
                  <a:ext cx="2770909" cy="969818"/>
                </a:xfrm>
                <a:prstGeom prst="roundRect">
                  <a:avLst/>
                </a:prstGeom>
                <a:solidFill>
                  <a:schemeClr val="bg2">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t" anchorCtr="0" compatLnSpc="1">
                  <a:prstTxWarp prst="textNoShape">
                    <a:avLst/>
                  </a:prstTxWarp>
                </a:bodyPr>
                <a:lstStyle/>
                <a:p>
                  <a:pPr algn="ctr" defTabSz="951028" fontAlgn="base">
                    <a:spcBef>
                      <a:spcPct val="0"/>
                    </a:spcBef>
                    <a:spcAft>
                      <a:spcPct val="0"/>
                    </a:spcAft>
                    <a:defRPr/>
                  </a:pPr>
                  <a:r>
                    <a:rPr lang="en-US" sz="1836" b="1" dirty="0" err="1">
                      <a:gradFill>
                        <a:gsLst>
                          <a:gs pos="0">
                            <a:srgbClr val="FFFFFF"/>
                          </a:gs>
                          <a:gs pos="100000">
                            <a:srgbClr val="FFFFFF"/>
                          </a:gs>
                        </a:gsLst>
                        <a:lin ang="5400000" scaled="0"/>
                      </a:gradFill>
                      <a:latin typeface="Segoe UI"/>
                    </a:rPr>
                    <a:t>dm_pdw_dms_workers</a:t>
                  </a:r>
                  <a:endParaRPr lang="en-US" sz="1836" b="1" dirty="0">
                    <a:gradFill>
                      <a:gsLst>
                        <a:gs pos="0">
                          <a:srgbClr val="FFFFFF"/>
                        </a:gs>
                        <a:gs pos="100000">
                          <a:srgbClr val="FFFFFF"/>
                        </a:gs>
                      </a:gsLst>
                      <a:lin ang="5400000" scaled="0"/>
                    </a:gradFill>
                    <a:latin typeface="Segoe UI"/>
                  </a:endParaRPr>
                </a:p>
                <a:p>
                  <a:pPr algn="ctr" defTabSz="951028" fontAlgn="base">
                    <a:spcBef>
                      <a:spcPct val="0"/>
                    </a:spcBef>
                    <a:spcAft>
                      <a:spcPct val="0"/>
                    </a:spcAft>
                    <a:defRPr/>
                  </a:pPr>
                  <a:endParaRPr lang="en-US" sz="1224" b="1" dirty="0">
                    <a:gradFill>
                      <a:gsLst>
                        <a:gs pos="0">
                          <a:srgbClr val="FFFFFF"/>
                        </a:gs>
                        <a:gs pos="100000">
                          <a:srgbClr val="FFFFFF"/>
                        </a:gs>
                      </a:gsLst>
                      <a:lin ang="5400000" scaled="0"/>
                    </a:gradFill>
                    <a:latin typeface="Segoe UI"/>
                  </a:endParaRPr>
                </a:p>
                <a:p>
                  <a:pPr algn="ctr" defTabSz="951028" fontAlgn="base">
                    <a:spcBef>
                      <a:spcPct val="0"/>
                    </a:spcBef>
                    <a:spcAft>
                      <a:spcPct val="0"/>
                    </a:spcAft>
                    <a:defRPr/>
                  </a:pPr>
                  <a:r>
                    <a:rPr lang="en-US" sz="1836" b="1" dirty="0" err="1">
                      <a:gradFill>
                        <a:gsLst>
                          <a:gs pos="0">
                            <a:srgbClr val="FFFFFF"/>
                          </a:gs>
                          <a:gs pos="100000">
                            <a:srgbClr val="FFFFFF"/>
                          </a:gs>
                        </a:gsLst>
                        <a:lin ang="5400000" scaled="0"/>
                      </a:gradFill>
                      <a:latin typeface="Segoe UI"/>
                    </a:rPr>
                    <a:t>request_id</a:t>
                  </a:r>
                  <a:r>
                    <a:rPr lang="en-US" sz="1836" b="1" dirty="0">
                      <a:gradFill>
                        <a:gsLst>
                          <a:gs pos="0">
                            <a:srgbClr val="FFFFFF"/>
                          </a:gs>
                          <a:gs pos="100000">
                            <a:srgbClr val="FFFFFF"/>
                          </a:gs>
                        </a:gsLst>
                        <a:lin ang="5400000" scaled="0"/>
                      </a:gradFill>
                      <a:latin typeface="Segoe UI"/>
                    </a:rPr>
                    <a:t> (PK)</a:t>
                  </a:r>
                </a:p>
                <a:p>
                  <a:pPr algn="ctr" defTabSz="951028" fontAlgn="base">
                    <a:spcBef>
                      <a:spcPct val="0"/>
                    </a:spcBef>
                    <a:spcAft>
                      <a:spcPct val="0"/>
                    </a:spcAft>
                    <a:defRPr/>
                  </a:pPr>
                  <a:r>
                    <a:rPr lang="en-US" sz="1836" b="1" dirty="0" err="1">
                      <a:gradFill>
                        <a:gsLst>
                          <a:gs pos="0">
                            <a:srgbClr val="FFFFFF"/>
                          </a:gs>
                          <a:gs pos="100000">
                            <a:srgbClr val="FFFFFF"/>
                          </a:gs>
                        </a:gsLst>
                        <a:lin ang="5400000" scaled="0"/>
                      </a:gradFill>
                      <a:latin typeface="Segoe UI"/>
                    </a:rPr>
                    <a:t>step_index</a:t>
                  </a:r>
                  <a:r>
                    <a:rPr lang="en-US" sz="1836" b="1" dirty="0">
                      <a:gradFill>
                        <a:gsLst>
                          <a:gs pos="0">
                            <a:srgbClr val="FFFFFF"/>
                          </a:gs>
                          <a:gs pos="100000">
                            <a:srgbClr val="FFFFFF"/>
                          </a:gs>
                        </a:gsLst>
                        <a:lin ang="5400000" scaled="0"/>
                      </a:gradFill>
                      <a:latin typeface="Segoe UI"/>
                    </a:rPr>
                    <a:t> (PK)</a:t>
                  </a:r>
                </a:p>
                <a:p>
                  <a:pPr algn="ctr" defTabSz="951028" fontAlgn="base">
                    <a:spcBef>
                      <a:spcPct val="0"/>
                    </a:spcBef>
                    <a:spcAft>
                      <a:spcPct val="0"/>
                    </a:spcAft>
                    <a:defRPr/>
                  </a:pPr>
                  <a:endParaRPr lang="en-US" sz="1836" b="1" dirty="0">
                    <a:gradFill>
                      <a:gsLst>
                        <a:gs pos="0">
                          <a:srgbClr val="FFFFFF"/>
                        </a:gs>
                        <a:gs pos="100000">
                          <a:srgbClr val="FFFFFF"/>
                        </a:gs>
                      </a:gsLst>
                      <a:lin ang="5400000" scaled="0"/>
                    </a:gradFill>
                    <a:latin typeface="Segoe UI"/>
                  </a:endParaRPr>
                </a:p>
                <a:p>
                  <a:pPr algn="ctr" defTabSz="951028" fontAlgn="base">
                    <a:spcBef>
                      <a:spcPct val="0"/>
                    </a:spcBef>
                    <a:spcAft>
                      <a:spcPct val="0"/>
                    </a:spcAft>
                    <a:defRPr/>
                  </a:pPr>
                  <a:endParaRPr lang="en-US" sz="1836" b="1" dirty="0">
                    <a:gradFill>
                      <a:gsLst>
                        <a:gs pos="0">
                          <a:srgbClr val="FFFFFF"/>
                        </a:gs>
                        <a:gs pos="100000">
                          <a:srgbClr val="FFFFFF"/>
                        </a:gs>
                      </a:gsLst>
                      <a:lin ang="5400000" scaled="0"/>
                    </a:gradFill>
                    <a:latin typeface="Segoe UI"/>
                  </a:endParaRPr>
                </a:p>
              </p:txBody>
            </p:sp>
            <p:cxnSp>
              <p:nvCxnSpPr>
                <p:cNvPr id="33" name="Straight Connector 32">
                  <a:extLst>
                    <a:ext uri="{FF2B5EF4-FFF2-40B4-BE49-F238E27FC236}">
                      <a16:creationId xmlns:a16="http://schemas.microsoft.com/office/drawing/2014/main" id="{5536A4F6-72CA-475F-B0F3-6E946B7721C3}"/>
                    </a:ext>
                  </a:extLst>
                </p:cNvPr>
                <p:cNvCxnSpPr/>
                <p:nvPr/>
              </p:nvCxnSpPr>
              <p:spPr>
                <a:xfrm>
                  <a:off x="884237" y="2240715"/>
                  <a:ext cx="243840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5" name="Straight Connector 24">
                <a:extLst>
                  <a:ext uri="{FF2B5EF4-FFF2-40B4-BE49-F238E27FC236}">
                    <a16:creationId xmlns:a16="http://schemas.microsoft.com/office/drawing/2014/main" id="{05C6812F-CD55-4797-916C-E0E45CA8AF1E}"/>
                  </a:ext>
                </a:extLst>
              </p:cNvPr>
              <p:cNvCxnSpPr/>
              <p:nvPr/>
            </p:nvCxnSpPr>
            <p:spPr>
              <a:xfrm flipV="1">
                <a:off x="8061801" y="2293549"/>
                <a:ext cx="363857" cy="190761"/>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A145DF3E-1938-4BA8-84B2-1D1B7A66911D}"/>
                  </a:ext>
                </a:extLst>
              </p:cNvPr>
              <p:cNvCxnSpPr/>
              <p:nvPr/>
            </p:nvCxnSpPr>
            <p:spPr>
              <a:xfrm>
                <a:off x="8058269" y="2489395"/>
                <a:ext cx="363857" cy="228065"/>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11D05395-57B7-479E-90F1-1A5C319AC2E7}"/>
                  </a:ext>
                </a:extLst>
              </p:cNvPr>
              <p:cNvCxnSpPr/>
              <p:nvPr/>
            </p:nvCxnSpPr>
            <p:spPr>
              <a:xfrm>
                <a:off x="8058269" y="2489395"/>
                <a:ext cx="363857" cy="0"/>
              </a:xfrm>
              <a:prstGeom prst="line">
                <a:avLst/>
              </a:prstGeom>
              <a:ln>
                <a:headEnd type="none"/>
                <a:tailEnd type="none"/>
              </a:ln>
            </p:spPr>
            <p:style>
              <a:lnRef idx="1">
                <a:schemeClr val="dk1"/>
              </a:lnRef>
              <a:fillRef idx="0">
                <a:schemeClr val="dk1"/>
              </a:fillRef>
              <a:effectRef idx="0">
                <a:schemeClr val="dk1"/>
              </a:effectRef>
              <a:fontRef idx="minor">
                <a:schemeClr val="tx1"/>
              </a:fontRef>
            </p:style>
          </p:cxnSp>
          <p:sp>
            <p:nvSpPr>
              <p:cNvPr id="28" name="TextBox 27">
                <a:extLst>
                  <a:ext uri="{FF2B5EF4-FFF2-40B4-BE49-F238E27FC236}">
                    <a16:creationId xmlns:a16="http://schemas.microsoft.com/office/drawing/2014/main" id="{317F7FEB-E062-4FBA-8BB3-E1E1E8793BDF}"/>
                  </a:ext>
                </a:extLst>
              </p:cNvPr>
              <p:cNvSpPr txBox="1"/>
              <p:nvPr/>
            </p:nvSpPr>
            <p:spPr>
              <a:xfrm>
                <a:off x="2480039" y="1653186"/>
                <a:ext cx="1457363" cy="647165"/>
              </a:xfrm>
              <a:prstGeom prst="rect">
                <a:avLst/>
              </a:prstGeom>
              <a:noFill/>
            </p:spPr>
            <p:txBody>
              <a:bodyPr wrap="none" lIns="186521" tIns="149217" rIns="186521" bIns="149217" rtlCol="0">
                <a:spAutoFit/>
              </a:bodyPr>
              <a:lstStyle/>
              <a:p>
                <a:pPr defTabSz="951304">
                  <a:lnSpc>
                    <a:spcPct val="90000"/>
                  </a:lnSpc>
                  <a:spcAft>
                    <a:spcPts val="612"/>
                  </a:spcAft>
                  <a:defRPr/>
                </a:pPr>
                <a:r>
                  <a:rPr lang="en-US" sz="2448" dirty="0">
                    <a:solidFill>
                      <a:schemeClr val="tx1">
                        <a:lumMod val="75000"/>
                      </a:schemeClr>
                    </a:solidFill>
                    <a:latin typeface="Segoe UI"/>
                  </a:rPr>
                  <a:t>Queries</a:t>
                </a:r>
              </a:p>
            </p:txBody>
          </p:sp>
          <p:sp>
            <p:nvSpPr>
              <p:cNvPr id="29" name="TextBox 28">
                <a:extLst>
                  <a:ext uri="{FF2B5EF4-FFF2-40B4-BE49-F238E27FC236}">
                    <a16:creationId xmlns:a16="http://schemas.microsoft.com/office/drawing/2014/main" id="{B49EA4A9-57AE-4743-A2A4-804D8DE24138}"/>
                  </a:ext>
                </a:extLst>
              </p:cNvPr>
              <p:cNvSpPr txBox="1"/>
              <p:nvPr/>
            </p:nvSpPr>
            <p:spPr>
              <a:xfrm>
                <a:off x="4218364" y="3518393"/>
                <a:ext cx="2780009" cy="647165"/>
              </a:xfrm>
              <a:prstGeom prst="rect">
                <a:avLst/>
              </a:prstGeom>
              <a:noFill/>
            </p:spPr>
            <p:txBody>
              <a:bodyPr wrap="none" lIns="186521" tIns="149217" rIns="186521" bIns="149217" rtlCol="0">
                <a:spAutoFit/>
              </a:bodyPr>
              <a:lstStyle/>
              <a:p>
                <a:pPr defTabSz="951304">
                  <a:lnSpc>
                    <a:spcPct val="90000"/>
                  </a:lnSpc>
                  <a:spcAft>
                    <a:spcPts val="612"/>
                  </a:spcAft>
                  <a:defRPr/>
                </a:pPr>
                <a:r>
                  <a:rPr lang="en-US" sz="2448" dirty="0">
                    <a:solidFill>
                      <a:schemeClr val="tx1">
                        <a:lumMod val="75000"/>
                      </a:schemeClr>
                    </a:solidFill>
                    <a:latin typeface="Segoe UI"/>
                  </a:rPr>
                  <a:t>Query Plan Steps</a:t>
                </a:r>
              </a:p>
            </p:txBody>
          </p:sp>
          <p:sp>
            <p:nvSpPr>
              <p:cNvPr id="30" name="TextBox 29">
                <a:extLst>
                  <a:ext uri="{FF2B5EF4-FFF2-40B4-BE49-F238E27FC236}">
                    <a16:creationId xmlns:a16="http://schemas.microsoft.com/office/drawing/2014/main" id="{925C3B04-2598-42CC-99CD-5B3C77B112A5}"/>
                  </a:ext>
                </a:extLst>
              </p:cNvPr>
              <p:cNvSpPr txBox="1"/>
              <p:nvPr/>
            </p:nvSpPr>
            <p:spPr>
              <a:xfrm>
                <a:off x="8515927" y="972361"/>
                <a:ext cx="2780009" cy="647165"/>
              </a:xfrm>
              <a:prstGeom prst="rect">
                <a:avLst/>
              </a:prstGeom>
              <a:noFill/>
            </p:spPr>
            <p:txBody>
              <a:bodyPr wrap="none" lIns="186521" tIns="149217" rIns="186521" bIns="149217" rtlCol="0">
                <a:spAutoFit/>
              </a:bodyPr>
              <a:lstStyle/>
              <a:p>
                <a:pPr defTabSz="951304">
                  <a:lnSpc>
                    <a:spcPct val="90000"/>
                  </a:lnSpc>
                  <a:spcAft>
                    <a:spcPts val="612"/>
                  </a:spcAft>
                  <a:defRPr/>
                </a:pPr>
                <a:r>
                  <a:rPr lang="en-US" sz="2448" dirty="0">
                    <a:solidFill>
                      <a:schemeClr val="tx1">
                        <a:lumMod val="75000"/>
                      </a:schemeClr>
                    </a:solidFill>
                    <a:latin typeface="Segoe UI"/>
                  </a:rPr>
                  <a:t>Query Plan Steps</a:t>
                </a:r>
              </a:p>
            </p:txBody>
          </p:sp>
          <p:sp>
            <p:nvSpPr>
              <p:cNvPr id="31" name="TextBox 30">
                <a:extLst>
                  <a:ext uri="{FF2B5EF4-FFF2-40B4-BE49-F238E27FC236}">
                    <a16:creationId xmlns:a16="http://schemas.microsoft.com/office/drawing/2014/main" id="{9D10ECA5-AABE-4A87-B88A-AC63EF932479}"/>
                  </a:ext>
                </a:extLst>
              </p:cNvPr>
              <p:cNvSpPr txBox="1"/>
              <p:nvPr/>
            </p:nvSpPr>
            <p:spPr>
              <a:xfrm>
                <a:off x="8173012" y="3363702"/>
                <a:ext cx="3485070" cy="629244"/>
              </a:xfrm>
              <a:prstGeom prst="rect">
                <a:avLst/>
              </a:prstGeom>
              <a:noFill/>
            </p:spPr>
            <p:txBody>
              <a:bodyPr wrap="none" lIns="186521" tIns="149217" rIns="186521" bIns="149217" rtlCol="0">
                <a:spAutoFit/>
              </a:bodyPr>
              <a:lstStyle/>
              <a:p>
                <a:pPr defTabSz="951304">
                  <a:lnSpc>
                    <a:spcPct val="90000"/>
                  </a:lnSpc>
                  <a:spcAft>
                    <a:spcPts val="612"/>
                  </a:spcAft>
                  <a:defRPr/>
                </a:pPr>
                <a:r>
                  <a:rPr lang="en-US" sz="2448" dirty="0">
                    <a:solidFill>
                      <a:schemeClr val="tx1">
                        <a:lumMod val="75000"/>
                      </a:schemeClr>
                    </a:solidFill>
                    <a:latin typeface="Segoe UI"/>
                  </a:rPr>
                  <a:t>Compute Node Queries</a:t>
                </a:r>
              </a:p>
            </p:txBody>
          </p:sp>
        </p:grpSp>
        <p:sp>
          <p:nvSpPr>
            <p:cNvPr id="51" name="TextBox 50">
              <a:extLst>
                <a:ext uri="{FF2B5EF4-FFF2-40B4-BE49-F238E27FC236}">
                  <a16:creationId xmlns:a16="http://schemas.microsoft.com/office/drawing/2014/main" id="{4C470BEB-62C1-4A7A-ACAD-92DD94F28020}"/>
                </a:ext>
              </a:extLst>
            </p:cNvPr>
            <p:cNvSpPr txBox="1"/>
            <p:nvPr/>
          </p:nvSpPr>
          <p:spPr>
            <a:xfrm>
              <a:off x="1083118" y="879393"/>
              <a:ext cx="1566902" cy="647165"/>
            </a:xfrm>
            <a:prstGeom prst="rect">
              <a:avLst/>
            </a:prstGeom>
            <a:noFill/>
          </p:spPr>
          <p:txBody>
            <a:bodyPr wrap="none" lIns="186521" tIns="149217" rIns="186521" bIns="149217" rtlCol="0">
              <a:spAutoFit/>
            </a:bodyPr>
            <a:lstStyle/>
            <a:p>
              <a:pPr defTabSz="951304">
                <a:lnSpc>
                  <a:spcPct val="90000"/>
                </a:lnSpc>
                <a:spcAft>
                  <a:spcPts val="612"/>
                </a:spcAft>
                <a:defRPr/>
              </a:pPr>
              <a:r>
                <a:rPr lang="en-US" sz="2448" dirty="0">
                  <a:solidFill>
                    <a:schemeClr val="tx1">
                      <a:lumMod val="75000"/>
                    </a:schemeClr>
                  </a:solidFill>
                  <a:latin typeface="Segoe UI"/>
                </a:rPr>
                <a:t>Sessions</a:t>
              </a:r>
            </a:p>
          </p:txBody>
        </p:sp>
      </p:grpSp>
    </p:spTree>
    <p:extLst>
      <p:ext uri="{BB962C8B-B14F-4D97-AF65-F5344CB8AC3E}">
        <p14:creationId xmlns:p14="http://schemas.microsoft.com/office/powerpoint/2010/main" val="8180092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EFBBE9-5977-4E1A-A627-B423671ACDC6}"/>
              </a:ext>
            </a:extLst>
          </p:cNvPr>
          <p:cNvSpPr>
            <a:spLocks noGrp="1"/>
          </p:cNvSpPr>
          <p:nvPr>
            <p:ph type="title"/>
          </p:nvPr>
        </p:nvSpPr>
        <p:spPr/>
        <p:txBody>
          <a:bodyPr/>
          <a:lstStyle/>
          <a:p>
            <a:r>
              <a:rPr lang="en-US" dirty="0"/>
              <a:t>Common Data Movement review</a:t>
            </a:r>
          </a:p>
        </p:txBody>
      </p:sp>
      <p:graphicFrame>
        <p:nvGraphicFramePr>
          <p:cNvPr id="4" name="Table 4">
            <a:extLst>
              <a:ext uri="{FF2B5EF4-FFF2-40B4-BE49-F238E27FC236}">
                <a16:creationId xmlns:a16="http://schemas.microsoft.com/office/drawing/2014/main" id="{E346C408-7384-490E-82B1-8DDF9455EC31}"/>
              </a:ext>
            </a:extLst>
          </p:cNvPr>
          <p:cNvGraphicFramePr>
            <a:graphicFrameLocks noGrp="1"/>
          </p:cNvGraphicFramePr>
          <p:nvPr>
            <p:ph sz="quarter" idx="13"/>
            <p:extLst>
              <p:ext uri="{D42A27DB-BD31-4B8C-83A1-F6EECF244321}">
                <p14:modId xmlns:p14="http://schemas.microsoft.com/office/powerpoint/2010/main" val="1031833187"/>
              </p:ext>
            </p:extLst>
          </p:nvPr>
        </p:nvGraphicFramePr>
        <p:xfrm>
          <a:off x="668786" y="895075"/>
          <a:ext cx="11099800" cy="5773039"/>
        </p:xfrm>
        <a:graphic>
          <a:graphicData uri="http://schemas.openxmlformats.org/drawingml/2006/table">
            <a:tbl>
              <a:tblPr firstRow="1" bandRow="1">
                <a:tableStyleId>{5C22544A-7EE6-4342-B048-85BDC9FD1C3A}</a:tableStyleId>
              </a:tblPr>
              <a:tblGrid>
                <a:gridCol w="2219960">
                  <a:extLst>
                    <a:ext uri="{9D8B030D-6E8A-4147-A177-3AD203B41FA5}">
                      <a16:colId xmlns:a16="http://schemas.microsoft.com/office/drawing/2014/main" val="2056075236"/>
                    </a:ext>
                  </a:extLst>
                </a:gridCol>
                <a:gridCol w="2219960">
                  <a:extLst>
                    <a:ext uri="{9D8B030D-6E8A-4147-A177-3AD203B41FA5}">
                      <a16:colId xmlns:a16="http://schemas.microsoft.com/office/drawing/2014/main" val="88630559"/>
                    </a:ext>
                  </a:extLst>
                </a:gridCol>
                <a:gridCol w="2219960">
                  <a:extLst>
                    <a:ext uri="{9D8B030D-6E8A-4147-A177-3AD203B41FA5}">
                      <a16:colId xmlns:a16="http://schemas.microsoft.com/office/drawing/2014/main" val="2553846101"/>
                    </a:ext>
                  </a:extLst>
                </a:gridCol>
                <a:gridCol w="2219960">
                  <a:extLst>
                    <a:ext uri="{9D8B030D-6E8A-4147-A177-3AD203B41FA5}">
                      <a16:colId xmlns:a16="http://schemas.microsoft.com/office/drawing/2014/main" val="3046318215"/>
                    </a:ext>
                  </a:extLst>
                </a:gridCol>
                <a:gridCol w="2219960">
                  <a:extLst>
                    <a:ext uri="{9D8B030D-6E8A-4147-A177-3AD203B41FA5}">
                      <a16:colId xmlns:a16="http://schemas.microsoft.com/office/drawing/2014/main" val="2942300049"/>
                    </a:ext>
                  </a:extLst>
                </a:gridCol>
              </a:tblGrid>
              <a:tr h="370840">
                <a:tc>
                  <a:txBody>
                    <a:bodyPr/>
                    <a:lstStyle/>
                    <a:p>
                      <a:r>
                        <a:rPr lang="en-US" dirty="0"/>
                        <a:t>Movement Type</a:t>
                      </a:r>
                    </a:p>
                  </a:txBody>
                  <a:tcPr/>
                </a:tc>
                <a:tc>
                  <a:txBody>
                    <a:bodyPr/>
                    <a:lstStyle/>
                    <a:p>
                      <a:r>
                        <a:rPr lang="en-US" dirty="0"/>
                        <a:t>Action</a:t>
                      </a:r>
                    </a:p>
                  </a:txBody>
                  <a:tcPr/>
                </a:tc>
                <a:tc>
                  <a:txBody>
                    <a:bodyPr/>
                    <a:lstStyle/>
                    <a:p>
                      <a:r>
                        <a:rPr lang="en-US" dirty="0"/>
                        <a:t>Good for</a:t>
                      </a:r>
                    </a:p>
                  </a:txBody>
                  <a:tcPr/>
                </a:tc>
                <a:tc>
                  <a:txBody>
                    <a:bodyPr/>
                    <a:lstStyle/>
                    <a:p>
                      <a:r>
                        <a:rPr lang="en-US" dirty="0"/>
                        <a:t>Watch out for</a:t>
                      </a:r>
                    </a:p>
                  </a:txBody>
                  <a:tcPr/>
                </a:tc>
                <a:tc>
                  <a:txBody>
                    <a:bodyPr/>
                    <a:lstStyle/>
                    <a:p>
                      <a:r>
                        <a:rPr lang="en-US" dirty="0"/>
                        <a:t>Example scenario</a:t>
                      </a:r>
                    </a:p>
                  </a:txBody>
                  <a:tcPr/>
                </a:tc>
                <a:extLst>
                  <a:ext uri="{0D108BD9-81ED-4DB2-BD59-A6C34878D82A}">
                    <a16:rowId xmlns:a16="http://schemas.microsoft.com/office/drawing/2014/main" val="25307566"/>
                  </a:ext>
                </a:extLst>
              </a:tr>
              <a:tr h="370840">
                <a:tc>
                  <a:txBody>
                    <a:bodyPr/>
                    <a:lstStyle/>
                    <a:p>
                      <a:r>
                        <a:rPr lang="en-US" dirty="0"/>
                        <a:t>Shuffle Move</a:t>
                      </a:r>
                    </a:p>
                  </a:txBody>
                  <a:tcPr/>
                </a:tc>
                <a:tc>
                  <a:txBody>
                    <a:bodyPr/>
                    <a:lstStyle/>
                    <a:p>
                      <a:r>
                        <a:rPr lang="en-US" dirty="0"/>
                        <a:t>Store results in distributed table</a:t>
                      </a:r>
                    </a:p>
                  </a:txBody>
                  <a:tcPr/>
                </a:tc>
                <a:tc>
                  <a:txBody>
                    <a:bodyPr/>
                    <a:lstStyle/>
                    <a:p>
                      <a:r>
                        <a:rPr lang="en-US" dirty="0"/>
                        <a:t>Large data volumes</a:t>
                      </a:r>
                    </a:p>
                  </a:txBody>
                  <a:tcPr/>
                </a:tc>
                <a:tc>
                  <a:txBody>
                    <a:bodyPr/>
                    <a:lstStyle/>
                    <a:p>
                      <a:r>
                        <a:rPr lang="en-US" dirty="0"/>
                        <a:t>Excessively high data volumes – tens or hundreds of billions of rows generally</a:t>
                      </a:r>
                    </a:p>
                  </a:txBody>
                  <a:tcPr/>
                </a:tc>
                <a:tc>
                  <a:txBody>
                    <a:bodyPr/>
                    <a:lstStyle/>
                    <a:p>
                      <a:r>
                        <a:rPr lang="en-US" dirty="0"/>
                        <a:t>Join two large non-distribution-compatible tables</a:t>
                      </a:r>
                    </a:p>
                  </a:txBody>
                  <a:tcPr/>
                </a:tc>
                <a:extLst>
                  <a:ext uri="{0D108BD9-81ED-4DB2-BD59-A6C34878D82A}">
                    <a16:rowId xmlns:a16="http://schemas.microsoft.com/office/drawing/2014/main" val="2167705338"/>
                  </a:ext>
                </a:extLst>
              </a:tr>
              <a:tr h="370840">
                <a:tc>
                  <a:txBody>
                    <a:bodyPr/>
                    <a:lstStyle/>
                    <a:p>
                      <a:r>
                        <a:rPr lang="en-US" dirty="0"/>
                        <a:t>Broadcast move</a:t>
                      </a:r>
                    </a:p>
                  </a:txBody>
                  <a:tcPr/>
                </a:tc>
                <a:tc>
                  <a:txBody>
                    <a:bodyPr/>
                    <a:lstStyle/>
                    <a:p>
                      <a:r>
                        <a:rPr lang="en-US" dirty="0"/>
                        <a:t>Store results in Replicated table</a:t>
                      </a:r>
                    </a:p>
                  </a:txBody>
                  <a:tcPr/>
                </a:tc>
                <a:tc>
                  <a:txBody>
                    <a:bodyPr/>
                    <a:lstStyle/>
                    <a:p>
                      <a:r>
                        <a:rPr lang="en-US" dirty="0"/>
                        <a:t>Small data volume</a:t>
                      </a:r>
                    </a:p>
                  </a:txBody>
                  <a:tcPr/>
                </a:tc>
                <a:tc>
                  <a:txBody>
                    <a:bodyPr/>
                    <a:lstStyle/>
                    <a:p>
                      <a:r>
                        <a:rPr lang="en-US" dirty="0"/>
                        <a:t>Large Data volumes</a:t>
                      </a:r>
                    </a:p>
                  </a:txBody>
                  <a:tcPr/>
                </a:tc>
                <a:tc>
                  <a:txBody>
                    <a:bodyPr/>
                    <a:lstStyle/>
                    <a:p>
                      <a:r>
                        <a:rPr lang="en-US" dirty="0"/>
                        <a:t>Join a small distributed table to a large distributed table on a column other than the distribution column</a:t>
                      </a:r>
                    </a:p>
                  </a:txBody>
                  <a:tcPr/>
                </a:tc>
                <a:extLst>
                  <a:ext uri="{0D108BD9-81ED-4DB2-BD59-A6C34878D82A}">
                    <a16:rowId xmlns:a16="http://schemas.microsoft.com/office/drawing/2014/main" val="3948874608"/>
                  </a:ext>
                </a:extLst>
              </a:tr>
              <a:tr h="370840">
                <a:tc>
                  <a:txBody>
                    <a:bodyPr/>
                    <a:lstStyle/>
                    <a:p>
                      <a:r>
                        <a:rPr lang="en-US" dirty="0"/>
                        <a:t>Trim Move</a:t>
                      </a:r>
                    </a:p>
                  </a:txBody>
                  <a:tcPr/>
                </a:tc>
                <a:tc>
                  <a:txBody>
                    <a:bodyPr/>
                    <a:lstStyle/>
                    <a:p>
                      <a:r>
                        <a:rPr lang="en-US" dirty="0"/>
                        <a:t>Query a replicated table and store results as a distributed table</a:t>
                      </a:r>
                    </a:p>
                  </a:txBody>
                  <a:tcPr/>
                </a:tc>
                <a:tc>
                  <a:txBody>
                    <a:bodyPr/>
                    <a:lstStyle/>
                    <a:p>
                      <a:r>
                        <a:rPr lang="en-US" dirty="0"/>
                        <a:t>Small Data volume</a:t>
                      </a:r>
                    </a:p>
                  </a:txBody>
                  <a:tcPr/>
                </a:tc>
                <a:tc>
                  <a:txBody>
                    <a:bodyPr/>
                    <a:lstStyle/>
                    <a:p>
                      <a:endParaRPr lang="en-US" dirty="0"/>
                    </a:p>
                  </a:txBody>
                  <a:tcPr/>
                </a:tc>
                <a:tc>
                  <a:txBody>
                    <a:bodyPr/>
                    <a:lstStyle/>
                    <a:p>
                      <a:r>
                        <a:rPr lang="en-US" dirty="0"/>
                        <a:t>Left join where left table is replicated and right table is distributed</a:t>
                      </a:r>
                    </a:p>
                  </a:txBody>
                  <a:tcPr/>
                </a:tc>
                <a:extLst>
                  <a:ext uri="{0D108BD9-81ED-4DB2-BD59-A6C34878D82A}">
                    <a16:rowId xmlns:a16="http://schemas.microsoft.com/office/drawing/2014/main" val="1746328583"/>
                  </a:ext>
                </a:extLst>
              </a:tr>
              <a:tr h="370840">
                <a:tc>
                  <a:txBody>
                    <a:bodyPr/>
                    <a:lstStyle/>
                    <a:p>
                      <a:r>
                        <a:rPr lang="en-US" dirty="0"/>
                        <a:t>Return operation</a:t>
                      </a:r>
                    </a:p>
                  </a:txBody>
                  <a:tcPr/>
                </a:tc>
                <a:tc>
                  <a:txBody>
                    <a:bodyPr/>
                    <a:lstStyle/>
                    <a:p>
                      <a:r>
                        <a:rPr lang="en-US" dirty="0"/>
                        <a:t>Run final SQL query and return rows to client</a:t>
                      </a:r>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835770490"/>
                  </a:ext>
                </a:extLst>
              </a:tr>
            </a:tbl>
          </a:graphicData>
        </a:graphic>
      </p:graphicFrame>
    </p:spTree>
    <p:extLst>
      <p:ext uri="{BB962C8B-B14F-4D97-AF65-F5344CB8AC3E}">
        <p14:creationId xmlns:p14="http://schemas.microsoft.com/office/powerpoint/2010/main" val="31526784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AB9C32-EA70-4A17-B7B8-7FDF5E96D284}"/>
              </a:ext>
            </a:extLst>
          </p:cNvPr>
          <p:cNvSpPr>
            <a:spLocks noGrp="1"/>
          </p:cNvSpPr>
          <p:nvPr>
            <p:ph type="title"/>
          </p:nvPr>
        </p:nvSpPr>
        <p:spPr/>
        <p:txBody>
          <a:bodyPr/>
          <a:lstStyle/>
          <a:p>
            <a:r>
              <a:rPr lang="en-US" dirty="0"/>
              <a:t>Check Statistics</a:t>
            </a:r>
          </a:p>
        </p:txBody>
      </p:sp>
      <p:graphicFrame>
        <p:nvGraphicFramePr>
          <p:cNvPr id="4" name="Content Placeholder 3">
            <a:extLst>
              <a:ext uri="{FF2B5EF4-FFF2-40B4-BE49-F238E27FC236}">
                <a16:creationId xmlns:a16="http://schemas.microsoft.com/office/drawing/2014/main" id="{1D49A74A-9260-4905-A0CB-80F7119E6FAE}"/>
              </a:ext>
            </a:extLst>
          </p:cNvPr>
          <p:cNvGraphicFramePr>
            <a:graphicFrameLocks noGrp="1"/>
          </p:cNvGraphicFramePr>
          <p:nvPr>
            <p:ph sz="quarter" idx="13"/>
            <p:extLst>
              <p:ext uri="{D42A27DB-BD31-4B8C-83A1-F6EECF244321}">
                <p14:modId xmlns:p14="http://schemas.microsoft.com/office/powerpoint/2010/main" val="3506036441"/>
              </p:ext>
            </p:extLst>
          </p:nvPr>
        </p:nvGraphicFramePr>
        <p:xfrm>
          <a:off x="668786" y="1039463"/>
          <a:ext cx="11098907" cy="56286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539193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89E7C-A9EF-494D-BDA8-06CA6CDBE35C}"/>
              </a:ext>
            </a:extLst>
          </p:cNvPr>
          <p:cNvSpPr>
            <a:spLocks noGrp="1"/>
          </p:cNvSpPr>
          <p:nvPr>
            <p:ph type="title"/>
          </p:nvPr>
        </p:nvSpPr>
        <p:spPr/>
        <p:txBody>
          <a:bodyPr/>
          <a:lstStyle/>
          <a:p>
            <a:r>
              <a:rPr lang="en-US" dirty="0"/>
              <a:t>Statistics check workflow</a:t>
            </a:r>
          </a:p>
        </p:txBody>
      </p:sp>
      <p:graphicFrame>
        <p:nvGraphicFramePr>
          <p:cNvPr id="4" name="Content Placeholder 3">
            <a:extLst>
              <a:ext uri="{FF2B5EF4-FFF2-40B4-BE49-F238E27FC236}">
                <a16:creationId xmlns:a16="http://schemas.microsoft.com/office/drawing/2014/main" id="{8ACF6E30-607F-440E-921D-C7BB2A7E2826}"/>
              </a:ext>
            </a:extLst>
          </p:cNvPr>
          <p:cNvGraphicFramePr>
            <a:graphicFrameLocks noGrp="1"/>
          </p:cNvGraphicFramePr>
          <p:nvPr>
            <p:ph sz="quarter" idx="13"/>
            <p:extLst>
              <p:ext uri="{D42A27DB-BD31-4B8C-83A1-F6EECF244321}">
                <p14:modId xmlns:p14="http://schemas.microsoft.com/office/powerpoint/2010/main" val="1538867633"/>
              </p:ext>
            </p:extLst>
          </p:nvPr>
        </p:nvGraphicFramePr>
        <p:xfrm>
          <a:off x="668785" y="1014608"/>
          <a:ext cx="11098907" cy="53371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797558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BC725-94CA-468E-A913-699FC82B2520}"/>
              </a:ext>
            </a:extLst>
          </p:cNvPr>
          <p:cNvSpPr>
            <a:spLocks noGrp="1"/>
          </p:cNvSpPr>
          <p:nvPr>
            <p:ph type="title"/>
          </p:nvPr>
        </p:nvSpPr>
        <p:spPr/>
        <p:txBody>
          <a:bodyPr/>
          <a:lstStyle/>
          <a:p>
            <a:r>
              <a:rPr lang="en-US" dirty="0"/>
              <a:t>Join Criteria</a:t>
            </a:r>
          </a:p>
        </p:txBody>
      </p:sp>
      <p:graphicFrame>
        <p:nvGraphicFramePr>
          <p:cNvPr id="4" name="Content Placeholder 3">
            <a:extLst>
              <a:ext uri="{FF2B5EF4-FFF2-40B4-BE49-F238E27FC236}">
                <a16:creationId xmlns:a16="http://schemas.microsoft.com/office/drawing/2014/main" id="{F59C48CD-D286-4A10-8920-EF4F3362A97F}"/>
              </a:ext>
            </a:extLst>
          </p:cNvPr>
          <p:cNvGraphicFramePr>
            <a:graphicFrameLocks noGrp="1"/>
          </p:cNvGraphicFramePr>
          <p:nvPr>
            <p:ph sz="quarter" idx="13"/>
            <p:extLst>
              <p:ext uri="{D42A27DB-BD31-4B8C-83A1-F6EECF244321}">
                <p14:modId xmlns:p14="http://schemas.microsoft.com/office/powerpoint/2010/main" val="621948414"/>
              </p:ext>
            </p:extLst>
          </p:nvPr>
        </p:nvGraphicFramePr>
        <p:xfrm>
          <a:off x="668785" y="1436146"/>
          <a:ext cx="11098907"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263707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B51DA-F4AF-411F-8CB2-E02E346961B2}"/>
              </a:ext>
            </a:extLst>
          </p:cNvPr>
          <p:cNvSpPr>
            <a:spLocks noGrp="1"/>
          </p:cNvSpPr>
          <p:nvPr>
            <p:ph type="title"/>
          </p:nvPr>
        </p:nvSpPr>
        <p:spPr/>
        <p:txBody>
          <a:bodyPr/>
          <a:lstStyle/>
          <a:p>
            <a:r>
              <a:rPr lang="en-US" dirty="0"/>
              <a:t>Complex or Multi-level Nested Subqueries</a:t>
            </a:r>
          </a:p>
        </p:txBody>
      </p:sp>
      <p:graphicFrame>
        <p:nvGraphicFramePr>
          <p:cNvPr id="4" name="Content Placeholder 3">
            <a:extLst>
              <a:ext uri="{FF2B5EF4-FFF2-40B4-BE49-F238E27FC236}">
                <a16:creationId xmlns:a16="http://schemas.microsoft.com/office/drawing/2014/main" id="{1087F01D-8876-4FAF-ACC3-41816FEEE79E}"/>
              </a:ext>
            </a:extLst>
          </p:cNvPr>
          <p:cNvGraphicFramePr>
            <a:graphicFrameLocks noGrp="1"/>
          </p:cNvGraphicFramePr>
          <p:nvPr>
            <p:ph sz="quarter" idx="13"/>
            <p:extLst>
              <p:ext uri="{D42A27DB-BD31-4B8C-83A1-F6EECF244321}">
                <p14:modId xmlns:p14="http://schemas.microsoft.com/office/powerpoint/2010/main" val="665989358"/>
              </p:ext>
            </p:extLst>
          </p:nvPr>
        </p:nvGraphicFramePr>
        <p:xfrm>
          <a:off x="668785" y="1436146"/>
          <a:ext cx="11098907"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954972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F26B1-672D-44FE-8E2C-BE55956FE310}"/>
              </a:ext>
            </a:extLst>
          </p:cNvPr>
          <p:cNvSpPr>
            <a:spLocks noGrp="1"/>
          </p:cNvSpPr>
          <p:nvPr>
            <p:ph type="title"/>
          </p:nvPr>
        </p:nvSpPr>
        <p:spPr/>
        <p:txBody>
          <a:bodyPr/>
          <a:lstStyle/>
          <a:p>
            <a:r>
              <a:rPr lang="en-US" dirty="0"/>
              <a:t>Ordered Clustered Columnstore</a:t>
            </a:r>
          </a:p>
        </p:txBody>
      </p:sp>
      <p:graphicFrame>
        <p:nvGraphicFramePr>
          <p:cNvPr id="7" name="Content Placeholder 6">
            <a:extLst>
              <a:ext uri="{FF2B5EF4-FFF2-40B4-BE49-F238E27FC236}">
                <a16:creationId xmlns:a16="http://schemas.microsoft.com/office/drawing/2014/main" id="{6AFB5C7E-4CF8-409A-9E97-A8E522BEA9F6}"/>
              </a:ext>
            </a:extLst>
          </p:cNvPr>
          <p:cNvGraphicFramePr>
            <a:graphicFrameLocks noGrp="1"/>
          </p:cNvGraphicFramePr>
          <p:nvPr>
            <p:ph sz="quarter" idx="13"/>
            <p:extLst>
              <p:ext uri="{D42A27DB-BD31-4B8C-83A1-F6EECF244321}">
                <p14:modId xmlns:p14="http://schemas.microsoft.com/office/powerpoint/2010/main" val="4220137916"/>
              </p:ext>
            </p:extLst>
          </p:nvPr>
        </p:nvGraphicFramePr>
        <p:xfrm>
          <a:off x="768994" y="3144238"/>
          <a:ext cx="11098907" cy="2734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a:extLst>
              <a:ext uri="{FF2B5EF4-FFF2-40B4-BE49-F238E27FC236}">
                <a16:creationId xmlns:a16="http://schemas.microsoft.com/office/drawing/2014/main" id="{D17C4B8E-52C3-425E-9512-4DDEEE4A0111}"/>
              </a:ext>
            </a:extLst>
          </p:cNvPr>
          <p:cNvGraphicFramePr/>
          <p:nvPr/>
        </p:nvGraphicFramePr>
        <p:xfrm>
          <a:off x="668786" y="1385977"/>
          <a:ext cx="11098906" cy="116955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305712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109151" y="642785"/>
            <a:ext cx="7093291" cy="5708957"/>
          </a:xfrm>
        </p:spPr>
        <p:txBody>
          <a:bodyPr/>
          <a:lstStyle/>
          <a:p>
            <a:r>
              <a:rPr lang="en-US" dirty="0"/>
              <a:t>Lesson 1: Identify a query that is impacting system performance</a:t>
            </a:r>
          </a:p>
          <a:p>
            <a:r>
              <a:rPr lang="en-US" dirty="0"/>
              <a:t>Lesson 2: Identify a query execution issue</a:t>
            </a:r>
          </a:p>
          <a:p>
            <a:endParaRPr lang="en-US" dirty="0"/>
          </a:p>
        </p:txBody>
      </p:sp>
    </p:spTree>
    <p:extLst>
      <p:ext uri="{BB962C8B-B14F-4D97-AF65-F5344CB8AC3E}">
        <p14:creationId xmlns:p14="http://schemas.microsoft.com/office/powerpoint/2010/main" val="1615560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86986-06B3-41D2-B23C-E3A555955114}"/>
              </a:ext>
            </a:extLst>
          </p:cNvPr>
          <p:cNvSpPr>
            <a:spLocks noGrp="1"/>
          </p:cNvSpPr>
          <p:nvPr>
            <p:ph type="title"/>
          </p:nvPr>
        </p:nvSpPr>
        <p:spPr/>
        <p:txBody>
          <a:bodyPr/>
          <a:lstStyle/>
          <a:p>
            <a:r>
              <a:rPr lang="en-US" dirty="0"/>
              <a:t>Ordered Columnstore Example</a:t>
            </a:r>
          </a:p>
        </p:txBody>
      </p:sp>
      <p:sp>
        <p:nvSpPr>
          <p:cNvPr id="3" name="Content Placeholder 2">
            <a:extLst>
              <a:ext uri="{FF2B5EF4-FFF2-40B4-BE49-F238E27FC236}">
                <a16:creationId xmlns:a16="http://schemas.microsoft.com/office/drawing/2014/main" id="{220AA613-0202-4A5C-9264-58A104078283}"/>
              </a:ext>
            </a:extLst>
          </p:cNvPr>
          <p:cNvSpPr>
            <a:spLocks noGrp="1"/>
          </p:cNvSpPr>
          <p:nvPr>
            <p:ph sz="quarter" idx="13"/>
          </p:nvPr>
        </p:nvSpPr>
        <p:spPr>
          <a:xfrm>
            <a:off x="668785" y="1436147"/>
            <a:ext cx="11098907" cy="1849314"/>
          </a:xfrm>
        </p:spPr>
        <p:txBody>
          <a:bodyPr>
            <a:normAutofit lnSpcReduction="10000"/>
          </a:bodyPr>
          <a:lstStyle/>
          <a:p>
            <a:pPr marL="0" indent="0">
              <a:buNone/>
            </a:pPr>
            <a:r>
              <a:rPr lang="en-US" sz="3200" b="1" i="0" dirty="0">
                <a:solidFill>
                  <a:srgbClr val="569CD6"/>
                </a:solidFill>
                <a:effectLst/>
                <a:latin typeface="Cordia New" panose="020B0304020202020204" pitchFamily="34" charset="-34"/>
                <a:cs typeface="Cordia New" panose="020B0304020202020204" pitchFamily="34" charset="-34"/>
              </a:rPr>
              <a:t>CREATE</a:t>
            </a:r>
            <a:r>
              <a:rPr lang="en-US" sz="3200" b="1" i="0" dirty="0">
                <a:solidFill>
                  <a:srgbClr val="E3E3E3"/>
                </a:solidFill>
                <a:effectLst/>
                <a:latin typeface="Cordia New" panose="020B0304020202020204" pitchFamily="34" charset="-34"/>
                <a:cs typeface="Cordia New" panose="020B0304020202020204" pitchFamily="34" charset="-34"/>
              </a:rPr>
              <a:t> </a:t>
            </a:r>
            <a:r>
              <a:rPr lang="en-US" sz="3200" b="1" dirty="0">
                <a:latin typeface="Cordia New" panose="020B0304020202020204" pitchFamily="34" charset="-34"/>
                <a:cs typeface="Cordia New" panose="020B0304020202020204" pitchFamily="34" charset="-34"/>
              </a:rPr>
              <a:t>CLUSTERED COLUMNSTORE </a:t>
            </a:r>
            <a:r>
              <a:rPr lang="en-US" sz="3200" b="1" i="0" dirty="0">
                <a:solidFill>
                  <a:srgbClr val="569CD6"/>
                </a:solidFill>
                <a:effectLst/>
                <a:latin typeface="Cordia New" panose="020B0304020202020204" pitchFamily="34" charset="-34"/>
                <a:cs typeface="Cordia New" panose="020B0304020202020204" pitchFamily="34" charset="-34"/>
              </a:rPr>
              <a:t>INDEX</a:t>
            </a:r>
            <a:r>
              <a:rPr lang="en-US" sz="3200" b="1" i="0" dirty="0">
                <a:solidFill>
                  <a:srgbClr val="E3E3E3"/>
                </a:solidFill>
                <a:effectLst/>
                <a:latin typeface="Cordia New" panose="020B0304020202020204" pitchFamily="34" charset="-34"/>
                <a:cs typeface="Cordia New" panose="020B0304020202020204" pitchFamily="34" charset="-34"/>
              </a:rPr>
              <a:t> </a:t>
            </a:r>
            <a:r>
              <a:rPr lang="en-US" sz="3200" b="1" dirty="0" err="1">
                <a:latin typeface="Cordia New" panose="020B0304020202020204" pitchFamily="34" charset="-34"/>
                <a:cs typeface="Cordia New" panose="020B0304020202020204" pitchFamily="34" charset="-34"/>
              </a:rPr>
              <a:t>MyOrderedCCI</a:t>
            </a:r>
            <a:r>
              <a:rPr lang="en-US" sz="3200" b="1" i="0" dirty="0">
                <a:solidFill>
                  <a:srgbClr val="E3E3E3"/>
                </a:solidFill>
                <a:effectLst/>
                <a:latin typeface="Cordia New" panose="020B0304020202020204" pitchFamily="34" charset="-34"/>
                <a:cs typeface="Cordia New" panose="020B0304020202020204" pitchFamily="34" charset="-34"/>
              </a:rPr>
              <a:t> </a:t>
            </a:r>
          </a:p>
          <a:p>
            <a:pPr marL="0" indent="0">
              <a:buNone/>
            </a:pPr>
            <a:r>
              <a:rPr lang="en-US" sz="3200" b="1" i="0" dirty="0">
                <a:solidFill>
                  <a:srgbClr val="569CD6"/>
                </a:solidFill>
                <a:effectLst/>
                <a:latin typeface="Cordia New" panose="020B0304020202020204" pitchFamily="34" charset="-34"/>
                <a:cs typeface="Cordia New" panose="020B0304020202020204" pitchFamily="34" charset="-34"/>
              </a:rPr>
              <a:t>ON</a:t>
            </a:r>
            <a:r>
              <a:rPr lang="en-US" sz="3200" b="1" i="0" dirty="0">
                <a:solidFill>
                  <a:srgbClr val="E3E3E3"/>
                </a:solidFill>
                <a:effectLst/>
                <a:latin typeface="Cordia New" panose="020B0304020202020204" pitchFamily="34" charset="-34"/>
                <a:cs typeface="Cordia New" panose="020B0304020202020204" pitchFamily="34" charset="-34"/>
              </a:rPr>
              <a:t> </a:t>
            </a:r>
            <a:r>
              <a:rPr lang="en-US" sz="3200" b="1" dirty="0">
                <a:latin typeface="Cordia New" panose="020B0304020202020204" pitchFamily="34" charset="-34"/>
                <a:cs typeface="Cordia New" panose="020B0304020202020204" pitchFamily="34" charset="-34"/>
              </a:rPr>
              <a:t>Tbl1</a:t>
            </a:r>
            <a:r>
              <a:rPr lang="en-US" sz="3200" b="1" i="0" dirty="0">
                <a:solidFill>
                  <a:srgbClr val="E3E3E3"/>
                </a:solidFill>
                <a:effectLst/>
                <a:latin typeface="Cordia New" panose="020B0304020202020204" pitchFamily="34" charset="-34"/>
                <a:cs typeface="Cordia New" panose="020B0304020202020204" pitchFamily="34" charset="-34"/>
              </a:rPr>
              <a:t> </a:t>
            </a:r>
            <a:r>
              <a:rPr lang="en-US" sz="3200" b="1" i="0" dirty="0">
                <a:solidFill>
                  <a:srgbClr val="569CD6"/>
                </a:solidFill>
                <a:effectLst/>
                <a:latin typeface="Cordia New" panose="020B0304020202020204" pitchFamily="34" charset="-34"/>
                <a:cs typeface="Cordia New" panose="020B0304020202020204" pitchFamily="34" charset="-34"/>
              </a:rPr>
              <a:t>ORDER</a:t>
            </a:r>
            <a:r>
              <a:rPr lang="en-US" sz="3200" b="1" i="0" dirty="0">
                <a:solidFill>
                  <a:srgbClr val="E3E3E3"/>
                </a:solidFill>
                <a:effectLst/>
                <a:latin typeface="Cordia New" panose="020B0304020202020204" pitchFamily="34" charset="-34"/>
                <a:cs typeface="Cordia New" panose="020B0304020202020204" pitchFamily="34" charset="-34"/>
              </a:rPr>
              <a:t> </a:t>
            </a:r>
            <a:r>
              <a:rPr lang="en-US" sz="3200" b="1" dirty="0">
                <a:latin typeface="Cordia New" panose="020B0304020202020204" pitchFamily="34" charset="-34"/>
                <a:cs typeface="Cordia New" panose="020B0304020202020204" pitchFamily="34" charset="-34"/>
              </a:rPr>
              <a:t>(</a:t>
            </a:r>
            <a:r>
              <a:rPr lang="en-US" sz="3200" b="1" dirty="0" err="1">
                <a:latin typeface="Cordia New" panose="020B0304020202020204" pitchFamily="34" charset="-34"/>
                <a:cs typeface="Cordia New" panose="020B0304020202020204" pitchFamily="34" charset="-34"/>
              </a:rPr>
              <a:t>Col_C</a:t>
            </a:r>
            <a:r>
              <a:rPr lang="en-US" sz="3200" b="1" dirty="0">
                <a:latin typeface="Cordia New" panose="020B0304020202020204" pitchFamily="34" charset="-34"/>
                <a:cs typeface="Cordia New" panose="020B0304020202020204" pitchFamily="34" charset="-34"/>
              </a:rPr>
              <a:t>, </a:t>
            </a:r>
            <a:r>
              <a:rPr lang="en-US" sz="3200" b="1" dirty="0" err="1">
                <a:latin typeface="Cordia New" panose="020B0304020202020204" pitchFamily="34" charset="-34"/>
                <a:cs typeface="Cordia New" panose="020B0304020202020204" pitchFamily="34" charset="-34"/>
              </a:rPr>
              <a:t>Col_B</a:t>
            </a:r>
            <a:r>
              <a:rPr lang="en-US" sz="3200" b="1" dirty="0">
                <a:latin typeface="Cordia New" panose="020B0304020202020204" pitchFamily="34" charset="-34"/>
                <a:cs typeface="Cordia New" panose="020B0304020202020204" pitchFamily="34" charset="-34"/>
              </a:rPr>
              <a:t>, </a:t>
            </a:r>
            <a:r>
              <a:rPr lang="en-US" sz="3200" b="1" dirty="0" err="1">
                <a:latin typeface="Cordia New" panose="020B0304020202020204" pitchFamily="34" charset="-34"/>
                <a:cs typeface="Cordia New" panose="020B0304020202020204" pitchFamily="34" charset="-34"/>
              </a:rPr>
              <a:t>Col_A</a:t>
            </a:r>
            <a:r>
              <a:rPr lang="en-US" sz="3200" b="1" dirty="0">
                <a:latin typeface="Cordia New" panose="020B0304020202020204" pitchFamily="34" charset="-34"/>
                <a:cs typeface="Cordia New" panose="020B0304020202020204" pitchFamily="34" charset="-34"/>
              </a:rPr>
              <a:t>) </a:t>
            </a:r>
            <a:br>
              <a:rPr lang="en-US" dirty="0"/>
            </a:br>
            <a:endParaRPr lang="en-US" dirty="0"/>
          </a:p>
          <a:p>
            <a:pPr marL="0" indent="0">
              <a:buNone/>
            </a:pPr>
            <a:r>
              <a:rPr lang="en-US" dirty="0"/>
              <a:t>Query 1 &amp; query 3 will benefit more than the other 3 queries:</a:t>
            </a:r>
          </a:p>
        </p:txBody>
      </p:sp>
      <p:sp>
        <p:nvSpPr>
          <p:cNvPr id="6" name="TextBox 5">
            <a:extLst>
              <a:ext uri="{FF2B5EF4-FFF2-40B4-BE49-F238E27FC236}">
                <a16:creationId xmlns:a16="http://schemas.microsoft.com/office/drawing/2014/main" id="{8323FB53-F46A-42EA-8CD4-4ADDC7EC5032}"/>
              </a:ext>
            </a:extLst>
          </p:cNvPr>
          <p:cNvSpPr txBox="1"/>
          <p:nvPr/>
        </p:nvSpPr>
        <p:spPr>
          <a:xfrm>
            <a:off x="2541183" y="3278177"/>
            <a:ext cx="8825022" cy="430887"/>
          </a:xfrm>
          <a:prstGeom prst="rect">
            <a:avLst/>
          </a:prstGeom>
          <a:solidFill>
            <a:srgbClr val="9BF00B"/>
          </a:solidFill>
          <a:ln w="22225">
            <a:solidFill>
              <a:schemeClr val="accent1"/>
            </a:solidFill>
          </a:ln>
        </p:spPr>
        <p:txBody>
          <a:bodyPr wrap="square" lIns="0" tIns="0" rIns="0" bIns="0" rtlCol="0">
            <a:spAutoFit/>
          </a:bodyPr>
          <a:lstStyle/>
          <a:p>
            <a:pPr marL="0" indent="0">
              <a:buNone/>
            </a:pPr>
            <a:r>
              <a:rPr lang="en-US" sz="2800" b="1" i="0" dirty="0">
                <a:solidFill>
                  <a:srgbClr val="569CD6"/>
                </a:solidFill>
                <a:effectLst/>
                <a:latin typeface="Cordia New" panose="020B0304020202020204" pitchFamily="34" charset="-34"/>
                <a:cs typeface="Cordia New" panose="020B0304020202020204" pitchFamily="34" charset="-34"/>
              </a:rPr>
              <a:t>  SELECT</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effectLst/>
                <a:latin typeface="Cordia New" panose="020B0304020202020204" pitchFamily="34" charset="-34"/>
                <a:cs typeface="Cordia New" panose="020B0304020202020204" pitchFamily="34" charset="-34"/>
              </a:rPr>
              <a:t>*</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solidFill>
                  <a:srgbClr val="569CD6"/>
                </a:solidFill>
                <a:effectLst/>
                <a:latin typeface="Cordia New" panose="020B0304020202020204" pitchFamily="34" charset="-34"/>
                <a:cs typeface="Cordia New" panose="020B0304020202020204" pitchFamily="34" charset="-34"/>
              </a:rPr>
              <a:t>FROM</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effectLst/>
                <a:latin typeface="Cordia New" panose="020B0304020202020204" pitchFamily="34" charset="-34"/>
                <a:cs typeface="Cordia New" panose="020B0304020202020204" pitchFamily="34" charset="-34"/>
              </a:rPr>
              <a:t>Tbl1</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solidFill>
                  <a:srgbClr val="569CD6"/>
                </a:solidFill>
                <a:effectLst/>
                <a:latin typeface="Cordia New" panose="020B0304020202020204" pitchFamily="34" charset="-34"/>
                <a:cs typeface="Cordia New" panose="020B0304020202020204" pitchFamily="34" charset="-34"/>
              </a:rPr>
              <a:t>WHERE</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err="1">
                <a:effectLst/>
                <a:latin typeface="Cordia New" panose="020B0304020202020204" pitchFamily="34" charset="-34"/>
                <a:cs typeface="Cordia New" panose="020B0304020202020204" pitchFamily="34" charset="-34"/>
              </a:rPr>
              <a:t>Col_C</a:t>
            </a:r>
            <a:r>
              <a:rPr lang="en-US" sz="2800" b="1" i="0" dirty="0">
                <a:effectLst/>
                <a:latin typeface="Cordia New" panose="020B0304020202020204" pitchFamily="34" charset="-34"/>
                <a:cs typeface="Cordia New" panose="020B0304020202020204" pitchFamily="34" charset="-34"/>
              </a:rPr>
              <a:t> = </a:t>
            </a:r>
            <a:r>
              <a:rPr lang="en-US" sz="2800" b="1" i="0" dirty="0">
                <a:solidFill>
                  <a:srgbClr val="CE9178"/>
                </a:solidFill>
                <a:effectLst/>
                <a:latin typeface="Cordia New" panose="020B0304020202020204" pitchFamily="34" charset="-34"/>
                <a:cs typeface="Cordia New" panose="020B0304020202020204" pitchFamily="34" charset="-34"/>
              </a:rPr>
              <a:t>'c'</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solidFill>
                  <a:srgbClr val="569CD6"/>
                </a:solidFill>
                <a:effectLst/>
                <a:latin typeface="Cordia New" panose="020B0304020202020204" pitchFamily="34" charset="-34"/>
                <a:cs typeface="Cordia New" panose="020B0304020202020204" pitchFamily="34" charset="-34"/>
              </a:rPr>
              <a:t>AND</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err="1">
                <a:effectLst/>
                <a:latin typeface="Cordia New" panose="020B0304020202020204" pitchFamily="34" charset="-34"/>
                <a:cs typeface="Cordia New" panose="020B0304020202020204" pitchFamily="34" charset="-34"/>
              </a:rPr>
              <a:t>Col_B</a:t>
            </a:r>
            <a:r>
              <a:rPr lang="en-US" sz="2800" b="1" i="0" dirty="0">
                <a:effectLst/>
                <a:latin typeface="Cordia New" panose="020B0304020202020204" pitchFamily="34" charset="-34"/>
                <a:cs typeface="Cordia New" panose="020B0304020202020204" pitchFamily="34" charset="-34"/>
              </a:rPr>
              <a:t> = </a:t>
            </a:r>
            <a:r>
              <a:rPr lang="en-US" sz="2800" b="1" i="0" dirty="0">
                <a:solidFill>
                  <a:srgbClr val="CE9178"/>
                </a:solidFill>
                <a:effectLst/>
                <a:latin typeface="Cordia New" panose="020B0304020202020204" pitchFamily="34" charset="-34"/>
                <a:cs typeface="Cordia New" panose="020B0304020202020204" pitchFamily="34" charset="-34"/>
              </a:rPr>
              <a:t>'b'</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solidFill>
                  <a:srgbClr val="569CD6"/>
                </a:solidFill>
                <a:effectLst/>
                <a:latin typeface="Cordia New" panose="020B0304020202020204" pitchFamily="34" charset="-34"/>
                <a:cs typeface="Cordia New" panose="020B0304020202020204" pitchFamily="34" charset="-34"/>
              </a:rPr>
              <a:t>AND</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err="1">
                <a:effectLst/>
                <a:latin typeface="Cordia New" panose="020B0304020202020204" pitchFamily="34" charset="-34"/>
                <a:cs typeface="Cordia New" panose="020B0304020202020204" pitchFamily="34" charset="-34"/>
              </a:rPr>
              <a:t>Col_A</a:t>
            </a:r>
            <a:r>
              <a:rPr lang="en-US" sz="2800" b="1" i="0" dirty="0">
                <a:effectLst/>
                <a:latin typeface="Cordia New" panose="020B0304020202020204" pitchFamily="34" charset="-34"/>
                <a:cs typeface="Cordia New" panose="020B0304020202020204" pitchFamily="34" charset="-34"/>
              </a:rPr>
              <a:t> = </a:t>
            </a:r>
            <a:r>
              <a:rPr lang="en-US" sz="2800" b="1" i="0" dirty="0">
                <a:solidFill>
                  <a:srgbClr val="CE9178"/>
                </a:solidFill>
                <a:effectLst/>
                <a:latin typeface="Cordia New" panose="020B0304020202020204" pitchFamily="34" charset="-34"/>
                <a:cs typeface="Cordia New" panose="020B0304020202020204" pitchFamily="34" charset="-34"/>
              </a:rPr>
              <a:t>‘a’</a:t>
            </a:r>
            <a:r>
              <a:rPr lang="en-US" sz="2800" b="1" i="0" dirty="0">
                <a:effectLst/>
                <a:latin typeface="Cordia New" panose="020B0304020202020204" pitchFamily="34" charset="-34"/>
                <a:cs typeface="Cordia New" panose="020B0304020202020204" pitchFamily="34" charset="-34"/>
              </a:rPr>
              <a:t>;</a:t>
            </a:r>
          </a:p>
        </p:txBody>
      </p:sp>
      <p:sp>
        <p:nvSpPr>
          <p:cNvPr id="8" name="TextBox 7">
            <a:extLst>
              <a:ext uri="{FF2B5EF4-FFF2-40B4-BE49-F238E27FC236}">
                <a16:creationId xmlns:a16="http://schemas.microsoft.com/office/drawing/2014/main" id="{7FD04AF8-880D-44B0-A7B3-21C86E5FB9E7}"/>
              </a:ext>
            </a:extLst>
          </p:cNvPr>
          <p:cNvSpPr txBox="1"/>
          <p:nvPr/>
        </p:nvSpPr>
        <p:spPr>
          <a:xfrm>
            <a:off x="2541183" y="3811927"/>
            <a:ext cx="8825022" cy="430887"/>
          </a:xfrm>
          <a:prstGeom prst="rect">
            <a:avLst/>
          </a:prstGeom>
          <a:noFill/>
          <a:ln w="22225">
            <a:solidFill>
              <a:schemeClr val="accent1"/>
            </a:solidFill>
          </a:ln>
        </p:spPr>
        <p:txBody>
          <a:bodyPr wrap="square" lIns="0" tIns="0" rIns="0" bIns="0" rtlCol="0">
            <a:spAutoFit/>
          </a:bodyPr>
          <a:lstStyle/>
          <a:p>
            <a:pPr marL="0" indent="0">
              <a:buNone/>
            </a:pPr>
            <a:r>
              <a:rPr lang="en-US" sz="2800" b="1" i="0" dirty="0">
                <a:solidFill>
                  <a:srgbClr val="569CD6"/>
                </a:solidFill>
                <a:effectLst/>
                <a:latin typeface="Cordia New" panose="020B0304020202020204" pitchFamily="34" charset="-34"/>
                <a:cs typeface="Cordia New" panose="020B0304020202020204" pitchFamily="34" charset="-34"/>
              </a:rPr>
              <a:t>  SELECT</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effectLst/>
                <a:latin typeface="Cordia New" panose="020B0304020202020204" pitchFamily="34" charset="-34"/>
                <a:cs typeface="Cordia New" panose="020B0304020202020204" pitchFamily="34" charset="-34"/>
              </a:rPr>
              <a:t>*</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solidFill>
                  <a:srgbClr val="569CD6"/>
                </a:solidFill>
                <a:effectLst/>
                <a:latin typeface="Cordia New" panose="020B0304020202020204" pitchFamily="34" charset="-34"/>
                <a:cs typeface="Cordia New" panose="020B0304020202020204" pitchFamily="34" charset="-34"/>
              </a:rPr>
              <a:t>FROM</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effectLst/>
                <a:latin typeface="Cordia New" panose="020B0304020202020204" pitchFamily="34" charset="-34"/>
                <a:cs typeface="Cordia New" panose="020B0304020202020204" pitchFamily="34" charset="-34"/>
              </a:rPr>
              <a:t>Tbl1 </a:t>
            </a:r>
            <a:r>
              <a:rPr lang="en-US" sz="2800" b="1" i="0" dirty="0">
                <a:solidFill>
                  <a:srgbClr val="569CD6"/>
                </a:solidFill>
                <a:effectLst/>
                <a:latin typeface="Cordia New" panose="020B0304020202020204" pitchFamily="34" charset="-34"/>
                <a:cs typeface="Cordia New" panose="020B0304020202020204" pitchFamily="34" charset="-34"/>
              </a:rPr>
              <a:t>WHERE</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err="1">
                <a:effectLst/>
                <a:latin typeface="Cordia New" panose="020B0304020202020204" pitchFamily="34" charset="-34"/>
                <a:cs typeface="Cordia New" panose="020B0304020202020204" pitchFamily="34" charset="-34"/>
              </a:rPr>
              <a:t>Col_B</a:t>
            </a:r>
            <a:r>
              <a:rPr lang="en-US" sz="2800" b="1" i="0" dirty="0">
                <a:effectLst/>
                <a:latin typeface="Cordia New" panose="020B0304020202020204" pitchFamily="34" charset="-34"/>
                <a:cs typeface="Cordia New" panose="020B0304020202020204" pitchFamily="34" charset="-34"/>
              </a:rPr>
              <a:t> = </a:t>
            </a:r>
            <a:r>
              <a:rPr lang="en-US" sz="2800" b="1" i="0" dirty="0">
                <a:solidFill>
                  <a:srgbClr val="CE9178"/>
                </a:solidFill>
                <a:effectLst/>
                <a:latin typeface="Cordia New" panose="020B0304020202020204" pitchFamily="34" charset="-34"/>
                <a:cs typeface="Cordia New" panose="020B0304020202020204" pitchFamily="34" charset="-34"/>
              </a:rPr>
              <a:t>'b'</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solidFill>
                  <a:srgbClr val="569CD6"/>
                </a:solidFill>
                <a:effectLst/>
                <a:latin typeface="Cordia New" panose="020B0304020202020204" pitchFamily="34" charset="-34"/>
                <a:cs typeface="Cordia New" panose="020B0304020202020204" pitchFamily="34" charset="-34"/>
              </a:rPr>
              <a:t>AND</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err="1">
                <a:effectLst/>
                <a:latin typeface="Cordia New" panose="020B0304020202020204" pitchFamily="34" charset="-34"/>
                <a:cs typeface="Cordia New" panose="020B0304020202020204" pitchFamily="34" charset="-34"/>
              </a:rPr>
              <a:t>Col_C</a:t>
            </a:r>
            <a:r>
              <a:rPr lang="en-US" sz="2800" b="1" i="0" dirty="0">
                <a:effectLst/>
                <a:latin typeface="Cordia New" panose="020B0304020202020204" pitchFamily="34" charset="-34"/>
                <a:cs typeface="Cordia New" panose="020B0304020202020204" pitchFamily="34" charset="-34"/>
              </a:rPr>
              <a:t> = </a:t>
            </a:r>
            <a:r>
              <a:rPr lang="en-US" sz="2800" b="1" i="0" dirty="0">
                <a:solidFill>
                  <a:srgbClr val="CE9178"/>
                </a:solidFill>
                <a:effectLst/>
                <a:latin typeface="Cordia New" panose="020B0304020202020204" pitchFamily="34" charset="-34"/>
                <a:cs typeface="Cordia New" panose="020B0304020202020204" pitchFamily="34" charset="-34"/>
              </a:rPr>
              <a:t>'c'</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solidFill>
                  <a:srgbClr val="569CD6"/>
                </a:solidFill>
                <a:effectLst/>
                <a:latin typeface="Cordia New" panose="020B0304020202020204" pitchFamily="34" charset="-34"/>
                <a:cs typeface="Cordia New" panose="020B0304020202020204" pitchFamily="34" charset="-34"/>
              </a:rPr>
              <a:t>AND</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err="1">
                <a:effectLst/>
                <a:latin typeface="Cordia New" panose="020B0304020202020204" pitchFamily="34" charset="-34"/>
                <a:cs typeface="Cordia New" panose="020B0304020202020204" pitchFamily="34" charset="-34"/>
              </a:rPr>
              <a:t>Col_A</a:t>
            </a:r>
            <a:r>
              <a:rPr lang="en-US" sz="2800" b="1" i="0" dirty="0">
                <a:effectLst/>
                <a:latin typeface="Cordia New" panose="020B0304020202020204" pitchFamily="34" charset="-34"/>
                <a:cs typeface="Cordia New" panose="020B0304020202020204" pitchFamily="34" charset="-34"/>
              </a:rPr>
              <a:t> = </a:t>
            </a:r>
            <a:r>
              <a:rPr lang="en-US" sz="2800" b="1" i="0" dirty="0">
                <a:solidFill>
                  <a:srgbClr val="CE9178"/>
                </a:solidFill>
                <a:effectLst/>
                <a:latin typeface="Cordia New" panose="020B0304020202020204" pitchFamily="34" charset="-34"/>
                <a:cs typeface="Cordia New" panose="020B0304020202020204" pitchFamily="34" charset="-34"/>
              </a:rPr>
              <a:t>'a’</a:t>
            </a:r>
            <a:r>
              <a:rPr lang="en-US" sz="2800" b="1" i="0" dirty="0">
                <a:effectLst/>
                <a:latin typeface="Cordia New" panose="020B0304020202020204" pitchFamily="34" charset="-34"/>
                <a:cs typeface="Cordia New" panose="020B0304020202020204" pitchFamily="34" charset="-34"/>
              </a:rPr>
              <a:t>;</a:t>
            </a:r>
            <a:r>
              <a:rPr lang="en-US" sz="2800" b="1" i="0" dirty="0">
                <a:solidFill>
                  <a:srgbClr val="E3E3E3"/>
                </a:solidFill>
                <a:effectLst/>
                <a:latin typeface="Cordia New" panose="020B0304020202020204" pitchFamily="34" charset="-34"/>
                <a:cs typeface="Cordia New" panose="020B0304020202020204" pitchFamily="34" charset="-34"/>
              </a:rPr>
              <a:t> </a:t>
            </a:r>
          </a:p>
        </p:txBody>
      </p:sp>
      <p:sp>
        <p:nvSpPr>
          <p:cNvPr id="10" name="TextBox 9">
            <a:extLst>
              <a:ext uri="{FF2B5EF4-FFF2-40B4-BE49-F238E27FC236}">
                <a16:creationId xmlns:a16="http://schemas.microsoft.com/office/drawing/2014/main" id="{015222D1-425C-4228-BE66-B241FD4D08C5}"/>
              </a:ext>
            </a:extLst>
          </p:cNvPr>
          <p:cNvSpPr txBox="1"/>
          <p:nvPr/>
        </p:nvSpPr>
        <p:spPr>
          <a:xfrm>
            <a:off x="2541183" y="4360591"/>
            <a:ext cx="8825022" cy="430887"/>
          </a:xfrm>
          <a:prstGeom prst="rect">
            <a:avLst/>
          </a:prstGeom>
          <a:solidFill>
            <a:srgbClr val="9BF00B"/>
          </a:solidFill>
          <a:ln w="22225">
            <a:solidFill>
              <a:schemeClr val="accent1"/>
            </a:solidFill>
          </a:ln>
        </p:spPr>
        <p:txBody>
          <a:bodyPr wrap="square" lIns="0" tIns="0" rIns="0" bIns="0" rtlCol="0">
            <a:spAutoFit/>
          </a:bodyPr>
          <a:lstStyle/>
          <a:p>
            <a:pPr marL="0" indent="0">
              <a:buNone/>
            </a:pPr>
            <a:r>
              <a:rPr lang="en-US" sz="2800" b="1" i="0" dirty="0">
                <a:solidFill>
                  <a:srgbClr val="569CD6"/>
                </a:solidFill>
                <a:effectLst/>
                <a:latin typeface="Cordia New" panose="020B0304020202020204" pitchFamily="34" charset="-34"/>
                <a:cs typeface="Cordia New" panose="020B0304020202020204" pitchFamily="34" charset="-34"/>
              </a:rPr>
              <a:t>  SELECT</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effectLst/>
                <a:latin typeface="Cordia New" panose="020B0304020202020204" pitchFamily="34" charset="-34"/>
                <a:cs typeface="Cordia New" panose="020B0304020202020204" pitchFamily="34" charset="-34"/>
              </a:rPr>
              <a:t>*</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solidFill>
                  <a:srgbClr val="569CD6"/>
                </a:solidFill>
                <a:effectLst/>
                <a:latin typeface="Cordia New" panose="020B0304020202020204" pitchFamily="34" charset="-34"/>
                <a:cs typeface="Cordia New" panose="020B0304020202020204" pitchFamily="34" charset="-34"/>
              </a:rPr>
              <a:t>FROM</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effectLst/>
                <a:latin typeface="Cordia New" panose="020B0304020202020204" pitchFamily="34" charset="-34"/>
                <a:cs typeface="Cordia New" panose="020B0304020202020204" pitchFamily="34" charset="-34"/>
              </a:rPr>
              <a:t>Tbl1</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solidFill>
                  <a:srgbClr val="569CD6"/>
                </a:solidFill>
                <a:effectLst/>
                <a:latin typeface="Cordia New" panose="020B0304020202020204" pitchFamily="34" charset="-34"/>
                <a:cs typeface="Cordia New" panose="020B0304020202020204" pitchFamily="34" charset="-34"/>
              </a:rPr>
              <a:t>WHERE</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err="1">
                <a:effectLst/>
                <a:latin typeface="Cordia New" panose="020B0304020202020204" pitchFamily="34" charset="-34"/>
                <a:cs typeface="Cordia New" panose="020B0304020202020204" pitchFamily="34" charset="-34"/>
              </a:rPr>
              <a:t>Col_C</a:t>
            </a:r>
            <a:r>
              <a:rPr lang="en-US" sz="2800" b="1" i="0" dirty="0">
                <a:effectLst/>
                <a:latin typeface="Cordia New" panose="020B0304020202020204" pitchFamily="34" charset="-34"/>
                <a:cs typeface="Cordia New" panose="020B0304020202020204" pitchFamily="34" charset="-34"/>
              </a:rPr>
              <a:t> = </a:t>
            </a:r>
            <a:r>
              <a:rPr lang="en-US" sz="2800" b="1" i="0" dirty="0">
                <a:solidFill>
                  <a:srgbClr val="CE9178"/>
                </a:solidFill>
                <a:effectLst/>
                <a:latin typeface="Cordia New" panose="020B0304020202020204" pitchFamily="34" charset="-34"/>
                <a:cs typeface="Cordia New" panose="020B0304020202020204" pitchFamily="34" charset="-34"/>
              </a:rPr>
              <a:t>‘c'</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solidFill>
                  <a:srgbClr val="569CD6"/>
                </a:solidFill>
                <a:effectLst/>
                <a:latin typeface="Cordia New" panose="020B0304020202020204" pitchFamily="34" charset="-34"/>
                <a:cs typeface="Cordia New" panose="020B0304020202020204" pitchFamily="34" charset="-34"/>
              </a:rPr>
              <a:t>AND</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err="1">
                <a:effectLst/>
                <a:latin typeface="Cordia New" panose="020B0304020202020204" pitchFamily="34" charset="-34"/>
                <a:cs typeface="Cordia New" panose="020B0304020202020204" pitchFamily="34" charset="-34"/>
              </a:rPr>
              <a:t>Col_B</a:t>
            </a:r>
            <a:r>
              <a:rPr lang="en-US" sz="2800" b="1" i="0" dirty="0">
                <a:effectLst/>
                <a:latin typeface="Cordia New" panose="020B0304020202020204" pitchFamily="34" charset="-34"/>
                <a:cs typeface="Cordia New" panose="020B0304020202020204" pitchFamily="34" charset="-34"/>
              </a:rPr>
              <a:t> = </a:t>
            </a:r>
            <a:r>
              <a:rPr lang="en-US" sz="2800" b="1" i="0" dirty="0">
                <a:solidFill>
                  <a:srgbClr val="CE9178"/>
                </a:solidFill>
                <a:effectLst/>
                <a:latin typeface="Cordia New" panose="020B0304020202020204" pitchFamily="34" charset="-34"/>
                <a:cs typeface="Cordia New" panose="020B0304020202020204" pitchFamily="34" charset="-34"/>
              </a:rPr>
              <a:t>‘b’</a:t>
            </a:r>
            <a:r>
              <a:rPr lang="en-US" sz="2800" b="1" i="0" dirty="0">
                <a:effectLst/>
                <a:latin typeface="Cordia New" panose="020B0304020202020204" pitchFamily="34" charset="-34"/>
                <a:cs typeface="Cordia New" panose="020B0304020202020204" pitchFamily="34" charset="-34"/>
              </a:rPr>
              <a:t>; </a:t>
            </a:r>
          </a:p>
        </p:txBody>
      </p:sp>
      <p:sp>
        <p:nvSpPr>
          <p:cNvPr id="12" name="TextBox 11">
            <a:extLst>
              <a:ext uri="{FF2B5EF4-FFF2-40B4-BE49-F238E27FC236}">
                <a16:creationId xmlns:a16="http://schemas.microsoft.com/office/drawing/2014/main" id="{C5FAAF94-8955-405A-B8F9-0808F7DD348F}"/>
              </a:ext>
            </a:extLst>
          </p:cNvPr>
          <p:cNvSpPr txBox="1"/>
          <p:nvPr/>
        </p:nvSpPr>
        <p:spPr>
          <a:xfrm>
            <a:off x="2541183" y="4922726"/>
            <a:ext cx="8825022" cy="430887"/>
          </a:xfrm>
          <a:prstGeom prst="rect">
            <a:avLst/>
          </a:prstGeom>
          <a:noFill/>
          <a:ln w="22225">
            <a:solidFill>
              <a:schemeClr val="accent1"/>
            </a:solidFill>
          </a:ln>
        </p:spPr>
        <p:txBody>
          <a:bodyPr wrap="square" lIns="0" tIns="0" rIns="0" bIns="0" rtlCol="0">
            <a:spAutoFit/>
          </a:bodyPr>
          <a:lstStyle/>
          <a:p>
            <a:pPr marL="0" indent="0">
              <a:buNone/>
            </a:pPr>
            <a:r>
              <a:rPr lang="en-US" sz="2800" b="1" i="0" dirty="0">
                <a:solidFill>
                  <a:srgbClr val="569CD6"/>
                </a:solidFill>
                <a:effectLst/>
                <a:latin typeface="Cordia New" panose="020B0304020202020204" pitchFamily="34" charset="-34"/>
                <a:cs typeface="Cordia New" panose="020B0304020202020204" pitchFamily="34" charset="-34"/>
              </a:rPr>
              <a:t>  SELECT</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effectLst/>
                <a:latin typeface="Cordia New" panose="020B0304020202020204" pitchFamily="34" charset="-34"/>
                <a:cs typeface="Cordia New" panose="020B0304020202020204" pitchFamily="34" charset="-34"/>
              </a:rPr>
              <a:t>*</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solidFill>
                  <a:srgbClr val="569CD6"/>
                </a:solidFill>
                <a:effectLst/>
                <a:latin typeface="Cordia New" panose="020B0304020202020204" pitchFamily="34" charset="-34"/>
                <a:cs typeface="Cordia New" panose="020B0304020202020204" pitchFamily="34" charset="-34"/>
              </a:rPr>
              <a:t>FROM</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effectLst/>
                <a:latin typeface="Cordia New" panose="020B0304020202020204" pitchFamily="34" charset="-34"/>
                <a:cs typeface="Cordia New" panose="020B0304020202020204" pitchFamily="34" charset="-34"/>
              </a:rPr>
              <a:t>Tbl1</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solidFill>
                  <a:srgbClr val="569CD6"/>
                </a:solidFill>
                <a:effectLst/>
                <a:latin typeface="Cordia New" panose="020B0304020202020204" pitchFamily="34" charset="-34"/>
                <a:cs typeface="Cordia New" panose="020B0304020202020204" pitchFamily="34" charset="-34"/>
              </a:rPr>
              <a:t>WHERE</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err="1">
                <a:effectLst/>
                <a:latin typeface="Cordia New" panose="020B0304020202020204" pitchFamily="34" charset="-34"/>
                <a:cs typeface="Cordia New" panose="020B0304020202020204" pitchFamily="34" charset="-34"/>
              </a:rPr>
              <a:t>Col_A</a:t>
            </a:r>
            <a:r>
              <a:rPr lang="en-US" sz="2800" b="1" i="0" dirty="0">
                <a:effectLst/>
                <a:latin typeface="Cordia New" panose="020B0304020202020204" pitchFamily="34" charset="-34"/>
                <a:cs typeface="Cordia New" panose="020B0304020202020204" pitchFamily="34" charset="-34"/>
              </a:rPr>
              <a:t> = </a:t>
            </a:r>
            <a:r>
              <a:rPr lang="en-US" sz="2800" b="1" i="0" dirty="0">
                <a:solidFill>
                  <a:srgbClr val="CE9178"/>
                </a:solidFill>
                <a:effectLst/>
                <a:latin typeface="Cordia New" panose="020B0304020202020204" pitchFamily="34" charset="-34"/>
                <a:cs typeface="Cordia New" panose="020B0304020202020204" pitchFamily="34" charset="-34"/>
              </a:rPr>
              <a:t>'a'</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solidFill>
                  <a:srgbClr val="569CD6"/>
                </a:solidFill>
                <a:effectLst/>
                <a:latin typeface="Cordia New" panose="020B0304020202020204" pitchFamily="34" charset="-34"/>
                <a:cs typeface="Cordia New" panose="020B0304020202020204" pitchFamily="34" charset="-34"/>
              </a:rPr>
              <a:t>AND</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err="1">
                <a:effectLst/>
                <a:latin typeface="Cordia New" panose="020B0304020202020204" pitchFamily="34" charset="-34"/>
                <a:cs typeface="Cordia New" panose="020B0304020202020204" pitchFamily="34" charset="-34"/>
              </a:rPr>
              <a:t>Col_C</a:t>
            </a:r>
            <a:r>
              <a:rPr lang="en-US" sz="2800" b="1" i="0" dirty="0">
                <a:effectLst/>
                <a:latin typeface="Cordia New" panose="020B0304020202020204" pitchFamily="34" charset="-34"/>
                <a:cs typeface="Cordia New" panose="020B0304020202020204" pitchFamily="34" charset="-34"/>
              </a:rPr>
              <a:t> = </a:t>
            </a:r>
            <a:r>
              <a:rPr lang="en-US" sz="2800" b="1" i="0" dirty="0">
                <a:solidFill>
                  <a:srgbClr val="CE9178"/>
                </a:solidFill>
                <a:effectLst/>
                <a:latin typeface="Cordia New" panose="020B0304020202020204" pitchFamily="34" charset="-34"/>
                <a:cs typeface="Cordia New" panose="020B0304020202020204" pitchFamily="34" charset="-34"/>
              </a:rPr>
              <a:t>'c'</a:t>
            </a:r>
            <a:r>
              <a:rPr lang="en-US" sz="2800" b="1" i="0" dirty="0">
                <a:effectLst/>
                <a:latin typeface="Cordia New" panose="020B0304020202020204" pitchFamily="34" charset="-34"/>
                <a:cs typeface="Cordia New" panose="020B0304020202020204" pitchFamily="34" charset="-34"/>
              </a:rPr>
              <a:t>;</a:t>
            </a:r>
            <a:endParaRPr lang="en-US" sz="2800" b="1" dirty="0">
              <a:latin typeface="Cordia New" panose="020B0304020202020204" pitchFamily="34" charset="-34"/>
              <a:cs typeface="Cordia New" panose="020B0304020202020204" pitchFamily="34" charset="-34"/>
            </a:endParaRPr>
          </a:p>
        </p:txBody>
      </p:sp>
      <p:sp>
        <p:nvSpPr>
          <p:cNvPr id="15" name="TextBox 14">
            <a:extLst>
              <a:ext uri="{FF2B5EF4-FFF2-40B4-BE49-F238E27FC236}">
                <a16:creationId xmlns:a16="http://schemas.microsoft.com/office/drawing/2014/main" id="{0729321B-AF0A-46B9-8C97-9E995B541C13}"/>
              </a:ext>
            </a:extLst>
          </p:cNvPr>
          <p:cNvSpPr txBox="1"/>
          <p:nvPr/>
        </p:nvSpPr>
        <p:spPr>
          <a:xfrm>
            <a:off x="1009027" y="3274638"/>
            <a:ext cx="1351401" cy="430887"/>
          </a:xfrm>
          <a:prstGeom prst="rect">
            <a:avLst/>
          </a:prstGeom>
          <a:solidFill>
            <a:srgbClr val="9BF00B"/>
          </a:solidFill>
          <a:ln w="22225">
            <a:solidFill>
              <a:schemeClr val="accent1"/>
            </a:solidFill>
          </a:ln>
        </p:spPr>
        <p:txBody>
          <a:bodyPr wrap="square" lIns="0" tIns="0" rIns="0" bIns="0" rtlCol="0">
            <a:spAutoFit/>
          </a:bodyPr>
          <a:lstStyle/>
          <a:p>
            <a:pPr marL="0" indent="0">
              <a:buNone/>
            </a:pPr>
            <a:r>
              <a:rPr lang="en-US" sz="2800" b="1" i="0" dirty="0">
                <a:effectLst/>
                <a:latin typeface="Cordia New" panose="020B0304020202020204" pitchFamily="34" charset="-34"/>
                <a:cs typeface="Cordia New" panose="020B0304020202020204" pitchFamily="34" charset="-34"/>
              </a:rPr>
              <a:t>  Query 1</a:t>
            </a:r>
          </a:p>
        </p:txBody>
      </p:sp>
      <p:sp>
        <p:nvSpPr>
          <p:cNvPr id="17" name="TextBox 16">
            <a:extLst>
              <a:ext uri="{FF2B5EF4-FFF2-40B4-BE49-F238E27FC236}">
                <a16:creationId xmlns:a16="http://schemas.microsoft.com/office/drawing/2014/main" id="{AD523E16-F0D7-4E1D-8219-D88C76A8B969}"/>
              </a:ext>
            </a:extLst>
          </p:cNvPr>
          <p:cNvSpPr txBox="1"/>
          <p:nvPr/>
        </p:nvSpPr>
        <p:spPr>
          <a:xfrm>
            <a:off x="1009025" y="3814058"/>
            <a:ext cx="1351401" cy="430887"/>
          </a:xfrm>
          <a:prstGeom prst="rect">
            <a:avLst/>
          </a:prstGeom>
          <a:noFill/>
          <a:ln w="22225">
            <a:solidFill>
              <a:schemeClr val="accent1"/>
            </a:solidFill>
          </a:ln>
        </p:spPr>
        <p:txBody>
          <a:bodyPr wrap="square" lIns="0" tIns="0" rIns="0" bIns="0" rtlCol="0">
            <a:spAutoFit/>
          </a:bodyPr>
          <a:lstStyle/>
          <a:p>
            <a:pPr marL="0" indent="0">
              <a:buNone/>
            </a:pPr>
            <a:r>
              <a:rPr lang="en-US" sz="2800" b="1" i="0" dirty="0">
                <a:effectLst/>
                <a:latin typeface="Cordia New" panose="020B0304020202020204" pitchFamily="34" charset="-34"/>
                <a:cs typeface="Cordia New" panose="020B0304020202020204" pitchFamily="34" charset="-34"/>
              </a:rPr>
              <a:t>  Query 2</a:t>
            </a:r>
          </a:p>
        </p:txBody>
      </p:sp>
      <p:sp>
        <p:nvSpPr>
          <p:cNvPr id="19" name="TextBox 18">
            <a:extLst>
              <a:ext uri="{FF2B5EF4-FFF2-40B4-BE49-F238E27FC236}">
                <a16:creationId xmlns:a16="http://schemas.microsoft.com/office/drawing/2014/main" id="{3B2516E3-A2C4-4BFA-9063-6A441D340BE1}"/>
              </a:ext>
            </a:extLst>
          </p:cNvPr>
          <p:cNvSpPr txBox="1"/>
          <p:nvPr/>
        </p:nvSpPr>
        <p:spPr>
          <a:xfrm>
            <a:off x="1009023" y="4368392"/>
            <a:ext cx="1351401" cy="430887"/>
          </a:xfrm>
          <a:prstGeom prst="rect">
            <a:avLst/>
          </a:prstGeom>
          <a:solidFill>
            <a:srgbClr val="9BF00B"/>
          </a:solidFill>
          <a:ln w="22225">
            <a:solidFill>
              <a:schemeClr val="accent1"/>
            </a:solidFill>
          </a:ln>
        </p:spPr>
        <p:txBody>
          <a:bodyPr wrap="square" lIns="0" tIns="0" rIns="0" bIns="0" rtlCol="0">
            <a:spAutoFit/>
          </a:bodyPr>
          <a:lstStyle/>
          <a:p>
            <a:pPr marL="0" indent="0">
              <a:buNone/>
            </a:pPr>
            <a:r>
              <a:rPr lang="en-US" sz="2800" b="1" i="0" dirty="0">
                <a:effectLst/>
                <a:latin typeface="Cordia New" panose="020B0304020202020204" pitchFamily="34" charset="-34"/>
                <a:cs typeface="Cordia New" panose="020B0304020202020204" pitchFamily="34" charset="-34"/>
              </a:rPr>
              <a:t>  Query 3</a:t>
            </a:r>
          </a:p>
        </p:txBody>
      </p:sp>
      <p:sp>
        <p:nvSpPr>
          <p:cNvPr id="21" name="TextBox 20">
            <a:extLst>
              <a:ext uri="{FF2B5EF4-FFF2-40B4-BE49-F238E27FC236}">
                <a16:creationId xmlns:a16="http://schemas.microsoft.com/office/drawing/2014/main" id="{A9108E75-C323-4FF3-AFA6-444BFB5A360C}"/>
              </a:ext>
            </a:extLst>
          </p:cNvPr>
          <p:cNvSpPr txBox="1"/>
          <p:nvPr/>
        </p:nvSpPr>
        <p:spPr>
          <a:xfrm>
            <a:off x="1009024" y="4936197"/>
            <a:ext cx="1351401" cy="430887"/>
          </a:xfrm>
          <a:prstGeom prst="rect">
            <a:avLst/>
          </a:prstGeom>
          <a:noFill/>
          <a:ln w="22225">
            <a:solidFill>
              <a:schemeClr val="accent1"/>
            </a:solidFill>
          </a:ln>
        </p:spPr>
        <p:txBody>
          <a:bodyPr wrap="square" lIns="0" tIns="0" rIns="0" bIns="0" rtlCol="0">
            <a:spAutoFit/>
          </a:bodyPr>
          <a:lstStyle/>
          <a:p>
            <a:pPr marL="0" indent="0">
              <a:buNone/>
            </a:pPr>
            <a:r>
              <a:rPr lang="en-US" sz="2800" b="1" i="0" dirty="0">
                <a:effectLst/>
                <a:latin typeface="Cordia New" panose="020B0304020202020204" pitchFamily="34" charset="-34"/>
                <a:cs typeface="Cordia New" panose="020B0304020202020204" pitchFamily="34" charset="-34"/>
              </a:rPr>
              <a:t>  Query 4</a:t>
            </a:r>
          </a:p>
        </p:txBody>
      </p:sp>
      <p:sp>
        <p:nvSpPr>
          <p:cNvPr id="24" name="TextBox 23">
            <a:extLst>
              <a:ext uri="{FF2B5EF4-FFF2-40B4-BE49-F238E27FC236}">
                <a16:creationId xmlns:a16="http://schemas.microsoft.com/office/drawing/2014/main" id="{57BAA971-9069-4C0E-9F7D-73BDCDC8966A}"/>
              </a:ext>
            </a:extLst>
          </p:cNvPr>
          <p:cNvSpPr txBox="1"/>
          <p:nvPr/>
        </p:nvSpPr>
        <p:spPr>
          <a:xfrm>
            <a:off x="668785" y="6128643"/>
            <a:ext cx="11218414" cy="615553"/>
          </a:xfrm>
          <a:prstGeom prst="rect">
            <a:avLst/>
          </a:prstGeom>
          <a:noFill/>
        </p:spPr>
        <p:txBody>
          <a:bodyPr wrap="square" lIns="0" tIns="0" rIns="0" bIns="0" rtlCol="0">
            <a:spAutoFit/>
          </a:bodyPr>
          <a:lstStyle/>
          <a:p>
            <a:pPr algn="l"/>
            <a:r>
              <a:rPr lang="en-US" sz="2000" dirty="0">
                <a:gradFill>
                  <a:gsLst>
                    <a:gs pos="2917">
                      <a:schemeClr val="tx1"/>
                    </a:gs>
                    <a:gs pos="30000">
                      <a:schemeClr val="tx1"/>
                    </a:gs>
                  </a:gsLst>
                  <a:lin ang="5400000" scaled="0"/>
                </a:gradFill>
              </a:rPr>
              <a:t>Query 1 and Query 3 predicates match the column order of the ORDERED CCI column order, with no missing columns</a:t>
            </a:r>
          </a:p>
        </p:txBody>
      </p:sp>
      <p:sp>
        <p:nvSpPr>
          <p:cNvPr id="26" name="TextBox 25">
            <a:extLst>
              <a:ext uri="{FF2B5EF4-FFF2-40B4-BE49-F238E27FC236}">
                <a16:creationId xmlns:a16="http://schemas.microsoft.com/office/drawing/2014/main" id="{5F046A6C-1D52-4AD4-A1D1-383383560834}"/>
              </a:ext>
            </a:extLst>
          </p:cNvPr>
          <p:cNvSpPr txBox="1"/>
          <p:nvPr/>
        </p:nvSpPr>
        <p:spPr>
          <a:xfrm>
            <a:off x="2541182" y="5479067"/>
            <a:ext cx="8825022" cy="430887"/>
          </a:xfrm>
          <a:prstGeom prst="rect">
            <a:avLst/>
          </a:prstGeom>
          <a:noFill/>
          <a:ln w="22225">
            <a:solidFill>
              <a:schemeClr val="accent1"/>
            </a:solidFill>
          </a:ln>
        </p:spPr>
        <p:txBody>
          <a:bodyPr wrap="square" lIns="0" tIns="0" rIns="0" bIns="0" rtlCol="0">
            <a:spAutoFit/>
          </a:bodyPr>
          <a:lstStyle/>
          <a:p>
            <a:pPr marL="0" indent="0">
              <a:buNone/>
            </a:pPr>
            <a:r>
              <a:rPr lang="en-US" sz="2800" b="1" i="0" dirty="0">
                <a:solidFill>
                  <a:srgbClr val="569CD6"/>
                </a:solidFill>
                <a:effectLst/>
                <a:latin typeface="Cordia New" panose="020B0304020202020204" pitchFamily="34" charset="-34"/>
                <a:cs typeface="Cordia New" panose="020B0304020202020204" pitchFamily="34" charset="-34"/>
              </a:rPr>
              <a:t>  SELECT</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effectLst/>
                <a:latin typeface="Cordia New" panose="020B0304020202020204" pitchFamily="34" charset="-34"/>
                <a:cs typeface="Cordia New" panose="020B0304020202020204" pitchFamily="34" charset="-34"/>
              </a:rPr>
              <a:t>*</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solidFill>
                  <a:srgbClr val="569CD6"/>
                </a:solidFill>
                <a:effectLst/>
                <a:latin typeface="Cordia New" panose="020B0304020202020204" pitchFamily="34" charset="-34"/>
                <a:cs typeface="Cordia New" panose="020B0304020202020204" pitchFamily="34" charset="-34"/>
              </a:rPr>
              <a:t>FROM</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effectLst/>
                <a:latin typeface="Cordia New" panose="020B0304020202020204" pitchFamily="34" charset="-34"/>
                <a:cs typeface="Cordia New" panose="020B0304020202020204" pitchFamily="34" charset="-34"/>
              </a:rPr>
              <a:t>Tbl1</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solidFill>
                  <a:srgbClr val="569CD6"/>
                </a:solidFill>
                <a:effectLst/>
                <a:latin typeface="Cordia New" panose="020B0304020202020204" pitchFamily="34" charset="-34"/>
                <a:cs typeface="Cordia New" panose="020B0304020202020204" pitchFamily="34" charset="-34"/>
              </a:rPr>
              <a:t>WHERE</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err="1">
                <a:effectLst/>
                <a:latin typeface="Cordia New" panose="020B0304020202020204" pitchFamily="34" charset="-34"/>
                <a:cs typeface="Cordia New" panose="020B0304020202020204" pitchFamily="34" charset="-34"/>
              </a:rPr>
              <a:t>Col_C</a:t>
            </a:r>
            <a:r>
              <a:rPr lang="en-US" sz="2800" b="1" i="0" dirty="0">
                <a:effectLst/>
                <a:latin typeface="Cordia New" panose="020B0304020202020204" pitchFamily="34" charset="-34"/>
                <a:cs typeface="Cordia New" panose="020B0304020202020204" pitchFamily="34" charset="-34"/>
              </a:rPr>
              <a:t> = </a:t>
            </a:r>
            <a:r>
              <a:rPr lang="en-US" sz="2800" b="1" i="0" dirty="0">
                <a:solidFill>
                  <a:srgbClr val="CE9178"/>
                </a:solidFill>
                <a:effectLst/>
                <a:latin typeface="Cordia New" panose="020B0304020202020204" pitchFamily="34" charset="-34"/>
                <a:cs typeface="Cordia New" panose="020B0304020202020204" pitchFamily="34" charset="-34"/>
              </a:rPr>
              <a:t>‘c'</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a:solidFill>
                  <a:srgbClr val="569CD6"/>
                </a:solidFill>
                <a:effectLst/>
                <a:latin typeface="Cordia New" panose="020B0304020202020204" pitchFamily="34" charset="-34"/>
                <a:cs typeface="Cordia New" panose="020B0304020202020204" pitchFamily="34" charset="-34"/>
              </a:rPr>
              <a:t>AND</a:t>
            </a:r>
            <a:r>
              <a:rPr lang="en-US" sz="2800" b="1" i="0" dirty="0">
                <a:solidFill>
                  <a:srgbClr val="E3E3E3"/>
                </a:solidFill>
                <a:effectLst/>
                <a:latin typeface="Cordia New" panose="020B0304020202020204" pitchFamily="34" charset="-34"/>
                <a:cs typeface="Cordia New" panose="020B0304020202020204" pitchFamily="34" charset="-34"/>
              </a:rPr>
              <a:t> </a:t>
            </a:r>
            <a:r>
              <a:rPr lang="en-US" sz="2800" b="1" i="0" dirty="0" err="1">
                <a:effectLst/>
                <a:latin typeface="Cordia New" panose="020B0304020202020204" pitchFamily="34" charset="-34"/>
                <a:cs typeface="Cordia New" panose="020B0304020202020204" pitchFamily="34" charset="-34"/>
              </a:rPr>
              <a:t>Col_A</a:t>
            </a:r>
            <a:r>
              <a:rPr lang="en-US" sz="2800" b="1" i="0" dirty="0">
                <a:effectLst/>
                <a:latin typeface="Cordia New" panose="020B0304020202020204" pitchFamily="34" charset="-34"/>
                <a:cs typeface="Cordia New" panose="020B0304020202020204" pitchFamily="34" charset="-34"/>
              </a:rPr>
              <a:t> = </a:t>
            </a:r>
            <a:r>
              <a:rPr lang="en-US" sz="2800" b="1" i="0" dirty="0">
                <a:solidFill>
                  <a:srgbClr val="CE9178"/>
                </a:solidFill>
                <a:effectLst/>
                <a:latin typeface="Cordia New" panose="020B0304020202020204" pitchFamily="34" charset="-34"/>
                <a:cs typeface="Cordia New" panose="020B0304020202020204" pitchFamily="34" charset="-34"/>
              </a:rPr>
              <a:t>‘a'</a:t>
            </a:r>
            <a:r>
              <a:rPr lang="en-US" sz="2800" b="1" i="0" dirty="0">
                <a:effectLst/>
                <a:latin typeface="Cordia New" panose="020B0304020202020204" pitchFamily="34" charset="-34"/>
                <a:cs typeface="Cordia New" panose="020B0304020202020204" pitchFamily="34" charset="-34"/>
              </a:rPr>
              <a:t>;</a:t>
            </a:r>
            <a:endParaRPr lang="en-US" sz="2800" b="1" dirty="0">
              <a:latin typeface="Cordia New" panose="020B0304020202020204" pitchFamily="34" charset="-34"/>
              <a:cs typeface="Cordia New" panose="020B0304020202020204" pitchFamily="34" charset="-34"/>
            </a:endParaRPr>
          </a:p>
        </p:txBody>
      </p:sp>
      <p:sp>
        <p:nvSpPr>
          <p:cNvPr id="28" name="TextBox 27">
            <a:extLst>
              <a:ext uri="{FF2B5EF4-FFF2-40B4-BE49-F238E27FC236}">
                <a16:creationId xmlns:a16="http://schemas.microsoft.com/office/drawing/2014/main" id="{9C610BF3-BD55-4967-B3D7-53900A2C6769}"/>
              </a:ext>
            </a:extLst>
          </p:cNvPr>
          <p:cNvSpPr txBox="1"/>
          <p:nvPr/>
        </p:nvSpPr>
        <p:spPr>
          <a:xfrm>
            <a:off x="1009023" y="5492538"/>
            <a:ext cx="1351401" cy="430887"/>
          </a:xfrm>
          <a:prstGeom prst="rect">
            <a:avLst/>
          </a:prstGeom>
          <a:noFill/>
          <a:ln w="22225">
            <a:solidFill>
              <a:schemeClr val="accent1"/>
            </a:solidFill>
          </a:ln>
        </p:spPr>
        <p:txBody>
          <a:bodyPr wrap="square" lIns="0" tIns="0" rIns="0" bIns="0" rtlCol="0">
            <a:spAutoFit/>
          </a:bodyPr>
          <a:lstStyle/>
          <a:p>
            <a:pPr marL="0" indent="0">
              <a:buNone/>
            </a:pPr>
            <a:r>
              <a:rPr lang="en-US" sz="2800" b="1" i="0" dirty="0">
                <a:effectLst/>
                <a:latin typeface="Cordia New" panose="020B0304020202020204" pitchFamily="34" charset="-34"/>
                <a:cs typeface="Cordia New" panose="020B0304020202020204" pitchFamily="34" charset="-34"/>
              </a:rPr>
              <a:t>  Query 5</a:t>
            </a:r>
          </a:p>
        </p:txBody>
      </p:sp>
    </p:spTree>
    <p:extLst>
      <p:ext uri="{BB962C8B-B14F-4D97-AF65-F5344CB8AC3E}">
        <p14:creationId xmlns:p14="http://schemas.microsoft.com/office/powerpoint/2010/main" val="10466502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EA639-FD87-49C2-B857-6E76F4354FCF}"/>
              </a:ext>
            </a:extLst>
          </p:cNvPr>
          <p:cNvSpPr>
            <a:spLocks noGrp="1"/>
          </p:cNvSpPr>
          <p:nvPr>
            <p:ph type="title"/>
          </p:nvPr>
        </p:nvSpPr>
        <p:spPr/>
        <p:txBody>
          <a:bodyPr/>
          <a:lstStyle/>
          <a:p>
            <a:r>
              <a:rPr lang="en-US" dirty="0"/>
              <a:t>Other things to consider</a:t>
            </a:r>
          </a:p>
        </p:txBody>
      </p:sp>
      <p:graphicFrame>
        <p:nvGraphicFramePr>
          <p:cNvPr id="4" name="Content Placeholder 3">
            <a:extLst>
              <a:ext uri="{FF2B5EF4-FFF2-40B4-BE49-F238E27FC236}">
                <a16:creationId xmlns:a16="http://schemas.microsoft.com/office/drawing/2014/main" id="{9620CCB6-FA2B-4286-AC27-CF0F0B4B0999}"/>
              </a:ext>
            </a:extLst>
          </p:cNvPr>
          <p:cNvGraphicFramePr>
            <a:graphicFrameLocks noGrp="1"/>
          </p:cNvGraphicFramePr>
          <p:nvPr>
            <p:ph sz="quarter" idx="13"/>
            <p:extLst>
              <p:ext uri="{D42A27DB-BD31-4B8C-83A1-F6EECF244321}">
                <p14:modId xmlns:p14="http://schemas.microsoft.com/office/powerpoint/2010/main" val="3486308102"/>
              </p:ext>
            </p:extLst>
          </p:nvPr>
        </p:nvGraphicFramePr>
        <p:xfrm>
          <a:off x="668785" y="977030"/>
          <a:ext cx="11098907" cy="56910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010452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C64419E-33FF-4669-97EF-E07719AC5E82}"/>
              </a:ext>
            </a:extLst>
          </p:cNvPr>
          <p:cNvSpPr>
            <a:spLocks noGrp="1"/>
          </p:cNvSpPr>
          <p:nvPr>
            <p:ph type="title"/>
          </p:nvPr>
        </p:nvSpPr>
        <p:spPr/>
        <p:txBody>
          <a:bodyPr/>
          <a:lstStyle/>
          <a:p>
            <a:r>
              <a:rPr lang="en-US" dirty="0"/>
              <a:t>Knowledge Check – Query Optimization</a:t>
            </a:r>
          </a:p>
        </p:txBody>
      </p:sp>
      <p:graphicFrame>
        <p:nvGraphicFramePr>
          <p:cNvPr id="11" name="Diagram 10">
            <a:extLst>
              <a:ext uri="{FF2B5EF4-FFF2-40B4-BE49-F238E27FC236}">
                <a16:creationId xmlns:a16="http://schemas.microsoft.com/office/drawing/2014/main" id="{78590265-1871-45E9-9FAC-5CD170AB7F1E}"/>
              </a:ext>
            </a:extLst>
          </p:cNvPr>
          <p:cNvGraphicFramePr/>
          <p:nvPr>
            <p:extLst>
              <p:ext uri="{D42A27DB-BD31-4B8C-83A1-F6EECF244321}">
                <p14:modId xmlns:p14="http://schemas.microsoft.com/office/powerpoint/2010/main" val="4285141715"/>
              </p:ext>
            </p:extLst>
          </p:nvPr>
        </p:nvGraphicFramePr>
        <p:xfrm>
          <a:off x="397563" y="797266"/>
          <a:ext cx="3100581" cy="30205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3" name="Diagram 12">
            <a:extLst>
              <a:ext uri="{FF2B5EF4-FFF2-40B4-BE49-F238E27FC236}">
                <a16:creationId xmlns:a16="http://schemas.microsoft.com/office/drawing/2014/main" id="{351BAAB9-17D4-4F4A-8E62-EF2B5BC74E88}"/>
              </a:ext>
            </a:extLst>
          </p:cNvPr>
          <p:cNvGraphicFramePr/>
          <p:nvPr>
            <p:extLst>
              <p:ext uri="{D42A27DB-BD31-4B8C-83A1-F6EECF244321}">
                <p14:modId xmlns:p14="http://schemas.microsoft.com/office/powerpoint/2010/main" val="1407940437"/>
              </p:ext>
            </p:extLst>
          </p:nvPr>
        </p:nvGraphicFramePr>
        <p:xfrm>
          <a:off x="4531944" y="797266"/>
          <a:ext cx="3100579" cy="3020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8" name="Diagram 17">
            <a:extLst>
              <a:ext uri="{FF2B5EF4-FFF2-40B4-BE49-F238E27FC236}">
                <a16:creationId xmlns:a16="http://schemas.microsoft.com/office/drawing/2014/main" id="{6BEFBF48-40B8-441C-BBE7-F661BC93D3C9}"/>
              </a:ext>
            </a:extLst>
          </p:cNvPr>
          <p:cNvGraphicFramePr/>
          <p:nvPr>
            <p:extLst>
              <p:ext uri="{D42A27DB-BD31-4B8C-83A1-F6EECF244321}">
                <p14:modId xmlns:p14="http://schemas.microsoft.com/office/powerpoint/2010/main" val="3226703988"/>
              </p:ext>
            </p:extLst>
          </p:nvPr>
        </p:nvGraphicFramePr>
        <p:xfrm>
          <a:off x="8666324" y="797266"/>
          <a:ext cx="3100579" cy="302057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29" name="Diagram 28">
            <a:extLst>
              <a:ext uri="{FF2B5EF4-FFF2-40B4-BE49-F238E27FC236}">
                <a16:creationId xmlns:a16="http://schemas.microsoft.com/office/drawing/2014/main" id="{D2A0D0AD-E2A7-4622-9D69-8623A162E560}"/>
              </a:ext>
            </a:extLst>
          </p:cNvPr>
          <p:cNvGraphicFramePr/>
          <p:nvPr>
            <p:extLst>
              <p:ext uri="{D42A27DB-BD31-4B8C-83A1-F6EECF244321}">
                <p14:modId xmlns:p14="http://schemas.microsoft.com/office/powerpoint/2010/main" val="3809719970"/>
              </p:ext>
            </p:extLst>
          </p:nvPr>
        </p:nvGraphicFramePr>
        <p:xfrm>
          <a:off x="2578900" y="3647535"/>
          <a:ext cx="3100579" cy="3020578"/>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33" name="Diagram 32">
            <a:extLst>
              <a:ext uri="{FF2B5EF4-FFF2-40B4-BE49-F238E27FC236}">
                <a16:creationId xmlns:a16="http://schemas.microsoft.com/office/drawing/2014/main" id="{3B0578A8-DDF7-4C7C-9DC0-CD728C751BC0}"/>
              </a:ext>
            </a:extLst>
          </p:cNvPr>
          <p:cNvGraphicFramePr/>
          <p:nvPr>
            <p:extLst>
              <p:ext uri="{D42A27DB-BD31-4B8C-83A1-F6EECF244321}">
                <p14:modId xmlns:p14="http://schemas.microsoft.com/office/powerpoint/2010/main" val="21936215"/>
              </p:ext>
            </p:extLst>
          </p:nvPr>
        </p:nvGraphicFramePr>
        <p:xfrm>
          <a:off x="6756998" y="3647535"/>
          <a:ext cx="3100581" cy="3020578"/>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Tree>
    <p:extLst>
      <p:ext uri="{BB962C8B-B14F-4D97-AF65-F5344CB8AC3E}">
        <p14:creationId xmlns:p14="http://schemas.microsoft.com/office/powerpoint/2010/main" val="2038431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Graphic spid="13" grpId="0">
        <p:bldAsOne/>
      </p:bldGraphic>
      <p:bldGraphic spid="18" grpId="0">
        <p:bldAsOne/>
      </p:bldGraphic>
      <p:bldGraphic spid="29" grpId="0">
        <p:bldAsOne/>
      </p:bldGraphic>
      <p:bldGraphic spid="33" grpId="0">
        <p:bldAsOne/>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48139" y="294677"/>
            <a:ext cx="11887454" cy="471159"/>
          </a:xfrm>
        </p:spPr>
        <p:txBody>
          <a:bodyPr/>
          <a:lstStyle/>
          <a:p>
            <a:r>
              <a:rPr lang="en-US">
                <a:noFill/>
              </a:rPr>
              <a:t>Microsoft</a:t>
            </a:r>
          </a:p>
        </p:txBody>
      </p:sp>
    </p:spTree>
    <p:custDataLst>
      <p:tags r:id="rId1"/>
    </p:custDataLst>
    <p:extLst>
      <p:ext uri="{BB962C8B-B14F-4D97-AF65-F5344CB8AC3E}">
        <p14:creationId xmlns:p14="http://schemas.microsoft.com/office/powerpoint/2010/main" val="683163826"/>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69571" y="3039096"/>
            <a:ext cx="10988852" cy="616838"/>
          </a:xfrm>
        </p:spPr>
        <p:txBody>
          <a:bodyPr/>
          <a:lstStyle/>
          <a:p>
            <a:r>
              <a:rPr lang="en-US" dirty="0"/>
              <a:t>Lesson 1: Identify a query that is impacting system performance</a:t>
            </a:r>
          </a:p>
        </p:txBody>
      </p:sp>
    </p:spTree>
    <p:extLst>
      <p:ext uri="{BB962C8B-B14F-4D97-AF65-F5344CB8AC3E}">
        <p14:creationId xmlns:p14="http://schemas.microsoft.com/office/powerpoint/2010/main" val="40837460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 r:id="rId3"/>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4"/>
              <p:custData r:id="rId5"/>
            </p:custDataLst>
          </p:nvPr>
        </p:nvSpPr>
        <p:spPr>
          <a:xfrm>
            <a:off x="669572" y="1436145"/>
            <a:ext cx="11097333" cy="1877050"/>
          </a:xfrm>
        </p:spPr>
        <p:txBody>
          <a:bodyPr>
            <a:normAutofit/>
          </a:bodyPr>
          <a:lstStyle/>
          <a:p>
            <a:r>
              <a:rPr lang="en-US" dirty="0"/>
              <a:t>Understand the following topics:</a:t>
            </a:r>
          </a:p>
          <a:p>
            <a:pPr lvl="1"/>
            <a:r>
              <a:rPr lang="en-US" dirty="0"/>
              <a:t>What are the resources that can have contention</a:t>
            </a:r>
          </a:p>
          <a:p>
            <a:pPr lvl="1"/>
            <a:r>
              <a:rPr lang="en-US" dirty="0"/>
              <a:t>How to identify a query that is impacting system performance</a:t>
            </a:r>
          </a:p>
        </p:txBody>
      </p:sp>
      <p:pic>
        <p:nvPicPr>
          <p:cNvPr id="2" name="Picture 2" descr="A picture containing clock, drawing&#10;&#10;Description automatically generated">
            <a:extLst>
              <a:ext uri="{FF2B5EF4-FFF2-40B4-BE49-F238E27FC236}">
                <a16:creationId xmlns:a16="http://schemas.microsoft.com/office/drawing/2014/main" id="{44E6B385-D37C-4B69-98A8-445CE98D6F55}"/>
              </a:ext>
            </a:extLst>
          </p:cNvPr>
          <p:cNvPicPr>
            <a:picLocks noChangeAspect="1"/>
          </p:cNvPicPr>
          <p:nvPr/>
        </p:nvPicPr>
        <p:blipFill>
          <a:blip r:embed="rId8"/>
          <a:stretch>
            <a:fillRect/>
          </a:stretch>
        </p:blipFill>
        <p:spPr>
          <a:xfrm>
            <a:off x="9940554" y="3753081"/>
            <a:ext cx="1865207" cy="2418940"/>
          </a:xfrm>
          <a:prstGeom prst="rect">
            <a:avLst/>
          </a:prstGeom>
        </p:spPr>
      </p:pic>
    </p:spTree>
    <p:custDataLst>
      <p:tags r:id="rId1"/>
    </p:custDataLst>
    <p:extLst>
      <p:ext uri="{BB962C8B-B14F-4D97-AF65-F5344CB8AC3E}">
        <p14:creationId xmlns:p14="http://schemas.microsoft.com/office/powerpoint/2010/main" val="3423004034"/>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1D75A-15FE-4FA9-8BC7-CE9DCA0D99EA}"/>
              </a:ext>
            </a:extLst>
          </p:cNvPr>
          <p:cNvSpPr>
            <a:spLocks noGrp="1"/>
          </p:cNvSpPr>
          <p:nvPr>
            <p:ph type="title"/>
          </p:nvPr>
        </p:nvSpPr>
        <p:spPr/>
        <p:txBody>
          <a:bodyPr/>
          <a:lstStyle/>
          <a:p>
            <a:r>
              <a:rPr lang="en-US" dirty="0"/>
              <a:t>Resource Contention</a:t>
            </a:r>
          </a:p>
        </p:txBody>
      </p:sp>
      <p:sp>
        <p:nvSpPr>
          <p:cNvPr id="3" name="Content Placeholder 2">
            <a:extLst>
              <a:ext uri="{FF2B5EF4-FFF2-40B4-BE49-F238E27FC236}">
                <a16:creationId xmlns:a16="http://schemas.microsoft.com/office/drawing/2014/main" id="{12D226AD-FECF-4F60-820D-33CA7165E910}"/>
              </a:ext>
            </a:extLst>
          </p:cNvPr>
          <p:cNvSpPr>
            <a:spLocks noGrp="1"/>
          </p:cNvSpPr>
          <p:nvPr>
            <p:ph sz="quarter" idx="13"/>
          </p:nvPr>
        </p:nvSpPr>
        <p:spPr>
          <a:xfrm>
            <a:off x="668785" y="3835879"/>
            <a:ext cx="11098907" cy="2524664"/>
          </a:xfrm>
        </p:spPr>
        <p:txBody>
          <a:bodyPr/>
          <a:lstStyle/>
          <a:p>
            <a:pPr marL="317083" lvl="1" indent="0">
              <a:buNone/>
            </a:pPr>
            <a:endParaRPr lang="en-US" dirty="0"/>
          </a:p>
          <a:p>
            <a:pPr marL="317083" lvl="1" indent="0">
              <a:buNone/>
            </a:pPr>
            <a:endParaRPr lang="en-US" i="1" dirty="0"/>
          </a:p>
        </p:txBody>
      </p:sp>
      <p:graphicFrame>
        <p:nvGraphicFramePr>
          <p:cNvPr id="7" name="Diagram 6">
            <a:extLst>
              <a:ext uri="{FF2B5EF4-FFF2-40B4-BE49-F238E27FC236}">
                <a16:creationId xmlns:a16="http://schemas.microsoft.com/office/drawing/2014/main" id="{1C10F4ED-84A8-4B0F-934E-252F87490E2B}"/>
              </a:ext>
            </a:extLst>
          </p:cNvPr>
          <p:cNvGraphicFramePr/>
          <p:nvPr>
            <p:extLst>
              <p:ext uri="{D42A27DB-BD31-4B8C-83A1-F6EECF244321}">
                <p14:modId xmlns:p14="http://schemas.microsoft.com/office/powerpoint/2010/main" val="2483728926"/>
              </p:ext>
            </p:extLst>
          </p:nvPr>
        </p:nvGraphicFramePr>
        <p:xfrm>
          <a:off x="523336" y="951978"/>
          <a:ext cx="11674415" cy="57161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462574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4C955-6EA3-4AA1-90AD-82541A00D010}"/>
              </a:ext>
            </a:extLst>
          </p:cNvPr>
          <p:cNvSpPr>
            <a:spLocks noGrp="1"/>
          </p:cNvSpPr>
          <p:nvPr>
            <p:ph type="title"/>
          </p:nvPr>
        </p:nvSpPr>
        <p:spPr/>
        <p:txBody>
          <a:bodyPr/>
          <a:lstStyle/>
          <a:p>
            <a:r>
              <a:rPr lang="en-US" dirty="0"/>
              <a:t>Analyze Resource Utilization in Azure Portal</a:t>
            </a:r>
          </a:p>
        </p:txBody>
      </p:sp>
      <p:graphicFrame>
        <p:nvGraphicFramePr>
          <p:cNvPr id="4" name="Content Placeholder 3">
            <a:extLst>
              <a:ext uri="{FF2B5EF4-FFF2-40B4-BE49-F238E27FC236}">
                <a16:creationId xmlns:a16="http://schemas.microsoft.com/office/drawing/2014/main" id="{B5C2D5C1-8AE9-41EC-AEC1-2A2445B0EECB}"/>
              </a:ext>
            </a:extLst>
          </p:cNvPr>
          <p:cNvGraphicFramePr>
            <a:graphicFrameLocks noGrp="1"/>
          </p:cNvGraphicFramePr>
          <p:nvPr>
            <p:ph sz="quarter" idx="13"/>
            <p:extLst>
              <p:ext uri="{D42A27DB-BD31-4B8C-83A1-F6EECF244321}">
                <p14:modId xmlns:p14="http://schemas.microsoft.com/office/powerpoint/2010/main" val="1274965473"/>
              </p:ext>
            </p:extLst>
          </p:nvPr>
        </p:nvGraphicFramePr>
        <p:xfrm>
          <a:off x="668785" y="1436146"/>
          <a:ext cx="11098907" cy="4915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326689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5F249-8F25-48A3-9344-B682884F36B3}"/>
              </a:ext>
            </a:extLst>
          </p:cNvPr>
          <p:cNvSpPr>
            <a:spLocks noGrp="1"/>
          </p:cNvSpPr>
          <p:nvPr>
            <p:ph type="title"/>
          </p:nvPr>
        </p:nvSpPr>
        <p:spPr/>
        <p:txBody>
          <a:bodyPr/>
          <a:lstStyle/>
          <a:p>
            <a:r>
              <a:rPr lang="en-US" dirty="0"/>
              <a:t>Query Execution Time</a:t>
            </a:r>
          </a:p>
        </p:txBody>
      </p:sp>
      <p:graphicFrame>
        <p:nvGraphicFramePr>
          <p:cNvPr id="5" name="Content Placeholder 4">
            <a:extLst>
              <a:ext uri="{FF2B5EF4-FFF2-40B4-BE49-F238E27FC236}">
                <a16:creationId xmlns:a16="http://schemas.microsoft.com/office/drawing/2014/main" id="{AD086B97-AA2F-4015-BF7C-7A7E57F8E24F}"/>
              </a:ext>
            </a:extLst>
          </p:cNvPr>
          <p:cNvGraphicFramePr>
            <a:graphicFrameLocks noGrp="1"/>
          </p:cNvGraphicFramePr>
          <p:nvPr>
            <p:ph sz="quarter" idx="13"/>
            <p:extLst>
              <p:ext uri="{D42A27DB-BD31-4B8C-83A1-F6EECF244321}">
                <p14:modId xmlns:p14="http://schemas.microsoft.com/office/powerpoint/2010/main" val="1277577721"/>
              </p:ext>
            </p:extLst>
          </p:nvPr>
        </p:nvGraphicFramePr>
        <p:xfrm>
          <a:off x="668785" y="1436146"/>
          <a:ext cx="11098907" cy="45379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D1EA4D08-EC95-4DB2-8BF9-83BF3CAE7E6F}"/>
              </a:ext>
            </a:extLst>
          </p:cNvPr>
          <p:cNvSpPr txBox="1"/>
          <p:nvPr/>
        </p:nvSpPr>
        <p:spPr>
          <a:xfrm>
            <a:off x="7461504" y="6194306"/>
            <a:ext cx="4417876" cy="800219"/>
          </a:xfrm>
          <a:prstGeom prst="rect">
            <a:avLst/>
          </a:prstGeom>
          <a:noFill/>
        </p:spPr>
        <p:txBody>
          <a:bodyPr wrap="none" lIns="0" tIns="0" rIns="0" bIns="0" rtlCol="0">
            <a:spAutoFit/>
          </a:bodyPr>
          <a:lstStyle/>
          <a:p>
            <a:r>
              <a:rPr lang="en-US" sz="3200" dirty="0"/>
              <a:t>&lt;link to </a:t>
            </a:r>
            <a:r>
              <a:rPr lang="en-US" sz="3200" dirty="0" err="1"/>
              <a:t>github</a:t>
            </a:r>
            <a:r>
              <a:rPr lang="en-US" sz="3200" dirty="0"/>
              <a:t> queries&gt;</a:t>
            </a:r>
          </a:p>
          <a:p>
            <a:pPr algn="l"/>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7171524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2B0A5-63C2-4F1C-AC68-9885BCBC6871}"/>
              </a:ext>
            </a:extLst>
          </p:cNvPr>
          <p:cNvSpPr>
            <a:spLocks noGrp="1"/>
          </p:cNvSpPr>
          <p:nvPr>
            <p:ph type="title"/>
          </p:nvPr>
        </p:nvSpPr>
        <p:spPr/>
        <p:txBody>
          <a:bodyPr/>
          <a:lstStyle/>
          <a:p>
            <a:r>
              <a:rPr lang="en-US" dirty="0"/>
              <a:t>Locking and Blocking</a:t>
            </a:r>
          </a:p>
        </p:txBody>
      </p:sp>
      <p:graphicFrame>
        <p:nvGraphicFramePr>
          <p:cNvPr id="6" name="Content Placeholder 5">
            <a:extLst>
              <a:ext uri="{FF2B5EF4-FFF2-40B4-BE49-F238E27FC236}">
                <a16:creationId xmlns:a16="http://schemas.microsoft.com/office/drawing/2014/main" id="{483E1BBB-0E1F-435A-8D07-80E2AFBF8180}"/>
              </a:ext>
            </a:extLst>
          </p:cNvPr>
          <p:cNvGraphicFramePr>
            <a:graphicFrameLocks noGrp="1"/>
          </p:cNvGraphicFramePr>
          <p:nvPr>
            <p:ph sz="quarter" idx="13"/>
            <p:extLst>
              <p:ext uri="{D42A27DB-BD31-4B8C-83A1-F6EECF244321}">
                <p14:modId xmlns:p14="http://schemas.microsoft.com/office/powerpoint/2010/main" val="3004590043"/>
              </p:ext>
            </p:extLst>
          </p:nvPr>
        </p:nvGraphicFramePr>
        <p:xfrm>
          <a:off x="668785" y="1436146"/>
          <a:ext cx="11098907" cy="43672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4FCEACD9-1D53-4F4E-B43F-379CAA218FA0}"/>
              </a:ext>
            </a:extLst>
          </p:cNvPr>
          <p:cNvSpPr txBox="1"/>
          <p:nvPr/>
        </p:nvSpPr>
        <p:spPr>
          <a:xfrm>
            <a:off x="3323802" y="6119104"/>
            <a:ext cx="6845808" cy="646331"/>
          </a:xfrm>
          <a:prstGeom prst="rect">
            <a:avLst/>
          </a:prstGeom>
          <a:noFill/>
        </p:spPr>
        <p:txBody>
          <a:bodyPr wrap="square">
            <a:spAutoFit/>
          </a:bodyPr>
          <a:lstStyle/>
          <a:p>
            <a:pPr lvl="0"/>
            <a:r>
              <a:rPr lang="en-US" baseline="0" dirty="0">
                <a:solidFill>
                  <a:schemeClr val="accent3">
                    <a:lumMod val="60000"/>
                    <a:lumOff val="40000"/>
                  </a:schemeClr>
                </a:solidFill>
              </a:rPr>
              <a:t>Lock hierarchy Example: SELECT * FROM table1</a:t>
            </a:r>
            <a:endParaRPr lang="en-US" dirty="0">
              <a:solidFill>
                <a:schemeClr val="accent3">
                  <a:lumMod val="60000"/>
                  <a:lumOff val="40000"/>
                </a:schemeClr>
              </a:solidFill>
            </a:endParaRPr>
          </a:p>
          <a:p>
            <a:pPr lvl="1"/>
            <a:r>
              <a:rPr lang="en-US" baseline="0" dirty="0">
                <a:solidFill>
                  <a:schemeClr val="accent3">
                    <a:lumMod val="60000"/>
                    <a:lumOff val="40000"/>
                  </a:schemeClr>
                </a:solidFill>
              </a:rPr>
              <a:t>Locks: DB (shared) -&gt; (Shared) Schema -&gt; (Shared) Table</a:t>
            </a:r>
            <a:endParaRPr lang="en-US" dirty="0">
              <a:solidFill>
                <a:schemeClr val="accent3">
                  <a:lumMod val="60000"/>
                  <a:lumOff val="40000"/>
                </a:schemeClr>
              </a:solidFill>
            </a:endParaRPr>
          </a:p>
        </p:txBody>
      </p:sp>
    </p:spTree>
    <p:extLst>
      <p:ext uri="{BB962C8B-B14F-4D97-AF65-F5344CB8AC3E}">
        <p14:creationId xmlns:p14="http://schemas.microsoft.com/office/powerpoint/2010/main" val="17612953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56313-C9D1-42FF-8A36-159E054A42C8}"/>
              </a:ext>
            </a:extLst>
          </p:cNvPr>
          <p:cNvSpPr>
            <a:spLocks noGrp="1"/>
          </p:cNvSpPr>
          <p:nvPr>
            <p:ph type="title"/>
          </p:nvPr>
        </p:nvSpPr>
        <p:spPr/>
        <p:txBody>
          <a:bodyPr/>
          <a:lstStyle/>
          <a:p>
            <a:r>
              <a:rPr lang="en-US" dirty="0"/>
              <a:t>Data Movement Heavy Hitters Query</a:t>
            </a:r>
          </a:p>
        </p:txBody>
      </p:sp>
      <p:graphicFrame>
        <p:nvGraphicFramePr>
          <p:cNvPr id="10" name="Diagram 9">
            <a:extLst>
              <a:ext uri="{FF2B5EF4-FFF2-40B4-BE49-F238E27FC236}">
                <a16:creationId xmlns:a16="http://schemas.microsoft.com/office/drawing/2014/main" id="{CAA13FD4-CBAF-497F-B21F-09FF58E16BD7}"/>
              </a:ext>
            </a:extLst>
          </p:cNvPr>
          <p:cNvGraphicFramePr/>
          <p:nvPr>
            <p:extLst>
              <p:ext uri="{D42A27DB-BD31-4B8C-83A1-F6EECF244321}">
                <p14:modId xmlns:p14="http://schemas.microsoft.com/office/powerpoint/2010/main" val="2465542556"/>
              </p:ext>
            </p:extLst>
          </p:nvPr>
        </p:nvGraphicFramePr>
        <p:xfrm>
          <a:off x="474906" y="5455642"/>
          <a:ext cx="11292784" cy="7386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Content Placeholder 8">
            <a:extLst>
              <a:ext uri="{FF2B5EF4-FFF2-40B4-BE49-F238E27FC236}">
                <a16:creationId xmlns:a16="http://schemas.microsoft.com/office/drawing/2014/main" id="{2254EDEB-DAFB-4D9F-962B-0CB4D800201C}"/>
              </a:ext>
            </a:extLst>
          </p:cNvPr>
          <p:cNvGraphicFramePr>
            <a:graphicFrameLocks noGrp="1"/>
          </p:cNvGraphicFramePr>
          <p:nvPr>
            <p:ph sz="quarter" idx="13"/>
            <p:extLst>
              <p:ext uri="{D42A27DB-BD31-4B8C-83A1-F6EECF244321}">
                <p14:modId xmlns:p14="http://schemas.microsoft.com/office/powerpoint/2010/main" val="3041962885"/>
              </p:ext>
            </p:extLst>
          </p:nvPr>
        </p:nvGraphicFramePr>
        <p:xfrm>
          <a:off x="668783" y="1042236"/>
          <a:ext cx="11098907" cy="415377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7278594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e286b115-eedd-41cf-acc8-3a8fc0dd7717"/>
  <p:tag name="MIO_UPDATE" val="True"/>
  <p:tag name="MIO_VERSION" val="02.12.2019 14:58:10"/>
  <p:tag name="MIO_DBID" val="12b0c59e-2253-4124-a5e9-470adf4cb168"/>
  <p:tag name="MIO_LASTDOWNLOADED" val="24.01.2020 05:39:40"/>
  <p:tag name="MIO_OBJECTNAME" val="Objective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TO Module template.potx" id="{978B1282-78D0-45DB-BF16-70AEEBE0FC4B}" vid="{EB95863F-80A5-4395-BC99-D256B2677DFB}"/>
    </a:ext>
  </a:extLst>
</a:theme>
</file>

<file path=ppt/theme/theme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TO Module template.potx" id="{978B1282-78D0-45DB-BF16-70AEEBE0FC4B}" vid="{049C9B04-611F-4F96-A503-3B399F13ECCB}"/>
    </a:ext>
  </a:extLst>
</a:theme>
</file>

<file path=ppt/theme/theme3.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Master_Template_Synapse.pptx" id="{79629E0D-DE60-400E-921E-E5299AF045D4}" vid="{9ECA069C-25CC-4AD7-B7CC-2502A7655AAE}"/>
    </a:ext>
  </a:extLst>
</a:theme>
</file>

<file path=ppt/theme/theme4.xml><?xml version="1.0" encoding="utf-8"?>
<a:theme xmlns:a="http://schemas.openxmlformats.org/drawingml/2006/main" name="1_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TO Module template.potx" id="{978B1282-78D0-45DB-BF16-70AEEBE0FC4B}" vid="{EB95863F-80A5-4395-BC99-D256B2677DFB}"/>
    </a:ext>
  </a:extLst>
</a:theme>
</file>

<file path=ppt/theme/theme5.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66b6bb9-0c3b-4baf-b7e0-24038b18f231">
      <UserInfo>
        <DisplayName>DW PFE Ramp-up Members</DisplayName>
        <AccountId>7</AccountId>
        <AccountType/>
      </UserInfo>
    </SharedWithUsers>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6.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xml><?xml version="1.0" encoding="utf-8"?>
<?mso-contentType ?>
<FormTemplates xmlns="http://schemas.microsoft.com/sharepoint/v3/contenttype/forms">
  <Display>DocumentLibraryForm</Display>
  <Edit>DocumentLibraryForm</Edit>
  <New>DocumentLibraryForm</New>
</FormTemplates>
</file>

<file path=customXml/item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693F5865-4A55-4886-9201-BED3766D4BBB}">
  <ds:schemaRefs>
    <ds:schemaRef ds:uri="Strauss.PersonalizationDefinition"/>
  </ds:schemaRefs>
</ds:datastoreItem>
</file>

<file path=customXml/itemProps10.xml><?xml version="1.0" encoding="utf-8"?>
<ds:datastoreItem xmlns:ds="http://schemas.openxmlformats.org/officeDocument/2006/customXml" ds:itemID="{DF699AA7-D3AF-4317-9808-6FA478F2794A}">
  <ds:schemaRefs>
    <ds:schemaRef ds:uri="Strauss.PersonalizationDefinition"/>
  </ds:schemaRefs>
</ds:datastoreItem>
</file>

<file path=customXml/itemProps11.xml><?xml version="1.0" encoding="utf-8"?>
<ds:datastoreItem xmlns:ds="http://schemas.openxmlformats.org/officeDocument/2006/customXml" ds:itemID="{772CAEB3-F6A6-459B-BBBC-D05E94E0B7A0}">
  <ds:schemaRefs>
    <ds:schemaRef ds:uri="Strauss.PersonalizationDefinition"/>
  </ds:schemaRefs>
</ds:datastoreItem>
</file>

<file path=customXml/itemProps2.xml><?xml version="1.0" encoding="utf-8"?>
<ds:datastoreItem xmlns:ds="http://schemas.openxmlformats.org/officeDocument/2006/customXml" ds:itemID="{259D01D5-33FF-4864-B476-9A80C648A810}">
  <ds:schemaRefs>
    <ds:schemaRef ds:uri="Strauss.PersonalizationDefinition"/>
  </ds:schemaRefs>
</ds:datastoreItem>
</file>

<file path=customXml/itemProps3.xml><?xml version="1.0" encoding="utf-8"?>
<ds:datastoreItem xmlns:ds="http://schemas.openxmlformats.org/officeDocument/2006/customXml" ds:itemID="{B8771E8B-20B3-470C-9F0F-9C4772186AD7}">
  <ds:schemaRefs>
    <ds:schemaRef ds:uri="Strauss.PersonalizationDefinition"/>
  </ds:schemaRefs>
</ds:datastoreItem>
</file>

<file path=customXml/itemProps4.xml><?xml version="1.0" encoding="utf-8"?>
<ds:datastoreItem xmlns:ds="http://schemas.openxmlformats.org/officeDocument/2006/customXml" ds:itemID="{ED5E73B1-45C5-4757-A8E7-3F92BCA03A8E}">
  <ds:schemaRefs>
    <ds:schemaRef ds:uri="Strauss.PersonalizationDefinition"/>
  </ds:schemaRefs>
</ds:datastoreItem>
</file>

<file path=customXml/itemProps5.xml><?xml version="1.0" encoding="utf-8"?>
<ds:datastoreItem xmlns:ds="http://schemas.openxmlformats.org/officeDocument/2006/customXml" ds:itemID="{F990F116-B58F-4255-B05B-DA3808E0E5C6}">
  <ds:schemaRefs>
    <ds:schemaRef ds:uri="http://purl.org/dc/dcmitype/"/>
    <ds:schemaRef ds:uri="http://schemas.microsoft.com/sharepoint/v3"/>
    <ds:schemaRef ds:uri="http://purl.org/dc/elements/1.1/"/>
    <ds:schemaRef ds:uri="ac57c417-f8e7-4332-a7b2-e7f34f734ebc"/>
    <ds:schemaRef ds:uri="http://www.w3.org/XML/1998/namespace"/>
    <ds:schemaRef ds:uri="40650e35-5471-45d3-b28a-3f2a8b1bc025"/>
    <ds:schemaRef ds:uri="http://schemas.microsoft.com/office/infopath/2007/PartnerControls"/>
    <ds:schemaRef ds:uri="http://schemas.microsoft.com/office/2006/documentManagement/types"/>
    <ds:schemaRef ds:uri="http://schemas.openxmlformats.org/package/2006/metadata/core-properties"/>
    <ds:schemaRef ds:uri="http://schemas.microsoft.com/office/2006/metadata/properties"/>
    <ds:schemaRef ds:uri="http://purl.org/dc/terms/"/>
    <ds:schemaRef ds:uri="b66b6bb9-0c3b-4baf-b7e0-24038b18f231"/>
    <ds:schemaRef ds:uri="6cd3d847-4521-4863-8800-2cff076dfc18"/>
    <ds:schemaRef ds:uri="230e9df3-be65-4c73-a93b-d1236ebd677e"/>
  </ds:schemaRefs>
</ds:datastoreItem>
</file>

<file path=customXml/itemProps6.xml><?xml version="1.0" encoding="utf-8"?>
<ds:datastoreItem xmlns:ds="http://schemas.openxmlformats.org/officeDocument/2006/customXml" ds:itemID="{B71DF80C-A70D-430B-9BE0-132F7377E0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7.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8.xml><?xml version="1.0" encoding="utf-8"?>
<ds:datastoreItem xmlns:ds="http://schemas.openxmlformats.org/officeDocument/2006/customXml" ds:itemID="{14CA8128-2005-44FE-9899-945704087947}">
  <ds:schemaRefs>
    <ds:schemaRef ds:uri="Strauss.PersonalizationDefinition"/>
  </ds:schemaRefs>
</ds:datastoreItem>
</file>

<file path=customXml/itemProps9.xml><?xml version="1.0" encoding="utf-8"?>
<ds:datastoreItem xmlns:ds="http://schemas.openxmlformats.org/officeDocument/2006/customXml" ds:itemID="{C68DFDA4-9A7D-4A03-88F7-3F01D0044E37}">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PTO Module template</Template>
  <TotalTime>1586</TotalTime>
  <Words>2759</Words>
  <Application>Microsoft Office PowerPoint</Application>
  <PresentationFormat>Custom</PresentationFormat>
  <Paragraphs>295</Paragraphs>
  <Slides>23</Slides>
  <Notes>22</Notes>
  <HiddenSlides>1</HiddenSlides>
  <MMClips>0</MMClips>
  <ScaleCrop>false</ScaleCrop>
  <HeadingPairs>
    <vt:vector size="6" baseType="variant">
      <vt:variant>
        <vt:lpstr>Fonts Used</vt:lpstr>
      </vt:variant>
      <vt:variant>
        <vt:i4>10</vt:i4>
      </vt:variant>
      <vt:variant>
        <vt:lpstr>Theme</vt:lpstr>
      </vt:variant>
      <vt:variant>
        <vt:i4>5</vt:i4>
      </vt:variant>
      <vt:variant>
        <vt:lpstr>Slide Titles</vt:lpstr>
      </vt:variant>
      <vt:variant>
        <vt:i4>23</vt:i4>
      </vt:variant>
    </vt:vector>
  </HeadingPairs>
  <TitlesOfParts>
    <vt:vector size="38" baseType="lpstr">
      <vt:lpstr>Arial</vt:lpstr>
      <vt:lpstr>Calibri</vt:lpstr>
      <vt:lpstr>Calibri Light</vt:lpstr>
      <vt:lpstr>Comic Sans MS</vt:lpstr>
      <vt:lpstr>Consolas</vt:lpstr>
      <vt:lpstr>Cordia New</vt:lpstr>
      <vt:lpstr>Segoe UI</vt:lpstr>
      <vt:lpstr>Segoe UI Light</vt:lpstr>
      <vt:lpstr>Segoe UI Semibold</vt:lpstr>
      <vt:lpstr>Wingdings</vt:lpstr>
      <vt:lpstr>WHITE TEMPLATE</vt:lpstr>
      <vt:lpstr>COLOR TEMPLATE</vt:lpstr>
      <vt:lpstr>Dark Blue</vt:lpstr>
      <vt:lpstr>1_WHITE TEMPLATE</vt:lpstr>
      <vt:lpstr>Dark Blue</vt:lpstr>
      <vt:lpstr>Query Optimization</vt:lpstr>
      <vt:lpstr>Learning units covered in this module</vt:lpstr>
      <vt:lpstr>Lesson 1: Identify a query that is impacting system performance</vt:lpstr>
      <vt:lpstr>Objectives</vt:lpstr>
      <vt:lpstr>Resource Contention</vt:lpstr>
      <vt:lpstr>Analyze Resource Utilization in Azure Portal</vt:lpstr>
      <vt:lpstr>Query Execution Time</vt:lpstr>
      <vt:lpstr>Locking and Blocking</vt:lpstr>
      <vt:lpstr>Data Movement Heavy Hitters Query</vt:lpstr>
      <vt:lpstr>Lesson 2: Identify a query execution issue</vt:lpstr>
      <vt:lpstr>Objectives</vt:lpstr>
      <vt:lpstr>What is the query doing?</vt:lpstr>
      <vt:lpstr>Dynamic Management Views</vt:lpstr>
      <vt:lpstr>Common Data Movement review</vt:lpstr>
      <vt:lpstr>Check Statistics</vt:lpstr>
      <vt:lpstr>Statistics check workflow</vt:lpstr>
      <vt:lpstr>Join Criteria</vt:lpstr>
      <vt:lpstr>Complex or Multi-level Nested Subqueries</vt:lpstr>
      <vt:lpstr>Ordered Clustered Columnstore</vt:lpstr>
      <vt:lpstr>Ordered Columnstore Example</vt:lpstr>
      <vt:lpstr>Other things to consider</vt:lpstr>
      <vt:lpstr>Knowledge Check – Query Optimization</vt:lpstr>
      <vt:lpstr>Microsoft</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ynapse SQL Pools Statistics</dc:title>
  <dc:subject>&lt;Speech title here&gt;</dc:subject>
  <dc:creator>Nick Salch;Filipe.Moreira@microsoft.com</dc:creator>
  <cp:keywords/>
  <dc:description>Template: Maryfj_x000d_
Formatting: _x000d_
Audience Type:</dc:description>
  <cp:lastModifiedBy>John Deardurff</cp:lastModifiedBy>
  <cp:revision>13</cp:revision>
  <dcterms:created xsi:type="dcterms:W3CDTF">2018-01-26T18:32:04Z</dcterms:created>
  <dcterms:modified xsi:type="dcterms:W3CDTF">2022-02-16T01:59:54Z</dcterms:modified>
  <cp:category>Workshop Plu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158CAB76EB234EA787464046C58889</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_dlc_DocIdItemGuid">
    <vt:lpwstr>44018ff3-f7cd-49ec-be29-23dee7970696</vt:lpwstr>
  </property>
  <property fmtid="{D5CDD505-2E9C-101B-9397-08002B2CF9AE}" pid="12" name="MSIP_Label_f42aa342-8706-4288-bd11-ebb85995028c_Enabled">
    <vt:lpwstr>True</vt:lpwstr>
  </property>
  <property fmtid="{D5CDD505-2E9C-101B-9397-08002B2CF9AE}" pid="13" name="MSIP_Label_f42aa342-8706-4288-bd11-ebb85995028c_SiteId">
    <vt:lpwstr>72f988bf-86f1-41af-91ab-2d7cd011db47</vt:lpwstr>
  </property>
  <property fmtid="{D5CDD505-2E9C-101B-9397-08002B2CF9AE}" pid="14" name="MSIP_Label_f42aa342-8706-4288-bd11-ebb85995028c_Ref">
    <vt:lpwstr>https://api.informationprotection.azure.com/api/72f988bf-86f1-41af-91ab-2d7cd011db47</vt:lpwstr>
  </property>
  <property fmtid="{D5CDD505-2E9C-101B-9397-08002B2CF9AE}" pid="15" name="MSIP_Label_f42aa342-8706-4288-bd11-ebb85995028c_Owner">
    <vt:lpwstr>sanair@microsoft.com</vt:lpwstr>
  </property>
  <property fmtid="{D5CDD505-2E9C-101B-9397-08002B2CF9AE}" pid="16" name="MSIP_Label_f42aa342-8706-4288-bd11-ebb85995028c_SetDate">
    <vt:lpwstr>2017-10-04T13:15:56.0607831-07:00</vt:lpwstr>
  </property>
  <property fmtid="{D5CDD505-2E9C-101B-9397-08002B2CF9AE}" pid="17" name="MSIP_Label_f42aa342-8706-4288-bd11-ebb85995028c_Name">
    <vt:lpwstr>General</vt:lpwstr>
  </property>
  <property fmtid="{D5CDD505-2E9C-101B-9397-08002B2CF9AE}" pid="18" name="MSIP_Label_f42aa342-8706-4288-bd11-ebb85995028c_Application">
    <vt:lpwstr>Microsoft Azure Information Protection</vt:lpwstr>
  </property>
  <property fmtid="{D5CDD505-2E9C-101B-9397-08002B2CF9AE}" pid="19" name="MSIP_Label_f42aa342-8706-4288-bd11-ebb85995028c_Extended_MSFT_Method">
    <vt:lpwstr>Automatic</vt:lpwstr>
  </property>
  <property fmtid="{D5CDD505-2E9C-101B-9397-08002B2CF9AE}" pid="20" name="Sensitivity">
    <vt:lpwstr>General</vt:lpwstr>
  </property>
  <property fmtid="{D5CDD505-2E9C-101B-9397-08002B2CF9AE}" pid="21" name="MediaServiceImageTags">
    <vt:lpwstr/>
  </property>
</Properties>
</file>